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773" r:id="rId1"/>
  </p:sldMasterIdLst>
  <p:notesMasterIdLst>
    <p:notesMasterId r:id="rId3"/>
  </p:notesMasterIdLst>
  <p:handoutMasterIdLst>
    <p:handoutMasterId r:id="rId4"/>
  </p:handoutMasterIdLst>
  <p:sldIdLst>
    <p:sldId id="720" r:id="rId2"/>
  </p:sldIdLst>
  <p:sldSz cx="10693400" cy="7556500"/>
  <p:notesSz cx="10693400" cy="7556500"/>
  <p:defaultTextStyle>
    <a:defPPr>
      <a:defRPr lang="fr-FR"/>
    </a:defPPr>
    <a:lvl1pPr marL="0" algn="l" defTabSz="4569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978" algn="l" defTabSz="4569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3955" algn="l" defTabSz="4569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0933" algn="l" defTabSz="4569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7911" algn="l" defTabSz="4569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4888" algn="l" defTabSz="4569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1866" algn="l" defTabSz="4569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8844" algn="l" defTabSz="4569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5821" algn="l" defTabSz="4569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ion par défaut" id="{440D89DD-EC78-C44D-81EF-F254FE93ABD3}">
          <p14:sldIdLst>
            <p14:sldId id="72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5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notes" hidden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4A0C"/>
    <a:srgbClr val="FF2E27"/>
    <a:srgbClr val="718DA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Style léger 3 - Accentuation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799B23B-EC83-4686-B30A-512413B5E67A}" styleName="Style léger 3 - Accentuation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DA37D80-6434-44D0-A028-1B22A696006F}" styleName="Style léger 3 - Accentuation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16DA210-FB5B-4158-B5E0-FEB733F419BA}" styleName="Style clair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70" autoAdjust="0"/>
    <p:restoredTop sz="86688" autoAdjust="0"/>
  </p:normalViewPr>
  <p:slideViewPr>
    <p:cSldViewPr>
      <p:cViewPr varScale="1">
        <p:scale>
          <a:sx n="55" d="100"/>
          <a:sy n="55" d="100"/>
        </p:scale>
        <p:origin x="1488" y="78"/>
      </p:cViewPr>
      <p:guideLst>
        <p:guide orient="horz" pos="2880"/>
        <p:guide pos="2159"/>
      </p:guideLst>
    </p:cSldViewPr>
  </p:slideViewPr>
  <p:outlineViewPr>
    <p:cViewPr>
      <p:scale>
        <a:sx n="33" d="100"/>
        <a:sy n="33" d="100"/>
      </p:scale>
      <p:origin x="0" y="1952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168ED62-121E-1A4E-83BC-FCE9576A6BB3}" type="doc">
      <dgm:prSet loTypeId="urn:microsoft.com/office/officeart/2005/8/layout/default" loCatId="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fr-FR"/>
        </a:p>
      </dgm:t>
    </dgm:pt>
    <dgm:pt modelId="{92A586B1-AB5D-1F4F-BAD3-E92E69FCCE92}">
      <dgm:prSet phldrT="[Texte]"/>
      <dgm:spPr/>
      <dgm:t>
        <a:bodyPr/>
        <a:lstStyle/>
        <a:p>
          <a:r>
            <a:rPr lang="fr-FR" dirty="0" smtClean="0">
              <a:latin typeface="Abadi MT Condensed Light"/>
              <a:cs typeface="Abadi MT Condensed Light"/>
            </a:rPr>
            <a:t>Priorité au visuel</a:t>
          </a:r>
          <a:endParaRPr lang="fr-FR" dirty="0">
            <a:latin typeface="Abadi MT Condensed Light"/>
            <a:cs typeface="Abadi MT Condensed Light"/>
          </a:endParaRPr>
        </a:p>
      </dgm:t>
    </dgm:pt>
    <dgm:pt modelId="{FCAFB9F1-E131-334F-86DC-3F3F6A3F3056}" type="parTrans" cxnId="{AA06A13B-B0AD-7D48-9EC2-3317F36C7D6F}">
      <dgm:prSet/>
      <dgm:spPr/>
      <dgm:t>
        <a:bodyPr/>
        <a:lstStyle/>
        <a:p>
          <a:endParaRPr lang="fr-FR"/>
        </a:p>
      </dgm:t>
    </dgm:pt>
    <dgm:pt modelId="{F3E101EE-0318-8041-8A0C-D6FCEFEC5084}" type="sibTrans" cxnId="{AA06A13B-B0AD-7D48-9EC2-3317F36C7D6F}">
      <dgm:prSet/>
      <dgm:spPr/>
      <dgm:t>
        <a:bodyPr/>
        <a:lstStyle/>
        <a:p>
          <a:endParaRPr lang="fr-FR"/>
        </a:p>
      </dgm:t>
    </dgm:pt>
    <dgm:pt modelId="{B83F9E5B-967F-2B47-8738-3E371DBB2DE3}">
      <dgm:prSet phldrT="[Texte]"/>
      <dgm:spPr/>
      <dgm:t>
        <a:bodyPr/>
        <a:lstStyle/>
        <a:p>
          <a:r>
            <a:rPr lang="fr-FR" dirty="0" smtClean="0">
              <a:latin typeface="Abadi MT Condensed Light"/>
              <a:cs typeface="Abadi MT Condensed Light"/>
            </a:rPr>
            <a:t>Mot-clé </a:t>
          </a:r>
          <a:br>
            <a:rPr lang="fr-FR" dirty="0" smtClean="0">
              <a:latin typeface="Abadi MT Condensed Light"/>
              <a:cs typeface="Abadi MT Condensed Light"/>
            </a:rPr>
          </a:br>
          <a:r>
            <a:rPr lang="fr-FR" dirty="0" smtClean="0">
              <a:latin typeface="Abadi MT Condensed Light"/>
              <a:cs typeface="Abadi MT Condensed Light"/>
            </a:rPr>
            <a:t>+ Image</a:t>
          </a:r>
          <a:endParaRPr lang="fr-FR" dirty="0">
            <a:latin typeface="Abadi MT Condensed Light"/>
            <a:cs typeface="Abadi MT Condensed Light"/>
          </a:endParaRPr>
        </a:p>
      </dgm:t>
    </dgm:pt>
    <dgm:pt modelId="{F259500C-9D94-FE40-8130-A66A74DEB8F1}" type="parTrans" cxnId="{3B6F947E-A281-5246-8793-7E6897EEAAA5}">
      <dgm:prSet/>
      <dgm:spPr/>
      <dgm:t>
        <a:bodyPr/>
        <a:lstStyle/>
        <a:p>
          <a:endParaRPr lang="fr-FR"/>
        </a:p>
      </dgm:t>
    </dgm:pt>
    <dgm:pt modelId="{763A846D-3684-D440-8D95-11F1B48FAC8E}" type="sibTrans" cxnId="{3B6F947E-A281-5246-8793-7E6897EEAAA5}">
      <dgm:prSet/>
      <dgm:spPr/>
      <dgm:t>
        <a:bodyPr/>
        <a:lstStyle/>
        <a:p>
          <a:endParaRPr lang="fr-FR"/>
        </a:p>
      </dgm:t>
    </dgm:pt>
    <dgm:pt modelId="{73777C47-25B5-0B46-A388-E30BBF85CBB6}">
      <dgm:prSet phldrT="[Texte]"/>
      <dgm:spPr/>
      <dgm:t>
        <a:bodyPr/>
        <a:lstStyle/>
        <a:p>
          <a:r>
            <a:rPr lang="fr-FR" dirty="0" smtClean="0">
              <a:latin typeface="Abadi MT Condensed Light"/>
              <a:cs typeface="Abadi MT Condensed Light"/>
            </a:rPr>
            <a:t>Mouvement </a:t>
          </a:r>
          <a:endParaRPr lang="fr-FR" dirty="0">
            <a:latin typeface="Abadi MT Condensed Light"/>
            <a:cs typeface="Abadi MT Condensed Light"/>
          </a:endParaRPr>
        </a:p>
      </dgm:t>
    </dgm:pt>
    <dgm:pt modelId="{BF811D1C-C830-6040-9943-744B84C5DE98}" type="parTrans" cxnId="{9A3F6A7F-A4A4-9E45-8DD3-DEBC86F9403C}">
      <dgm:prSet/>
      <dgm:spPr/>
      <dgm:t>
        <a:bodyPr/>
        <a:lstStyle/>
        <a:p>
          <a:endParaRPr lang="fr-FR"/>
        </a:p>
      </dgm:t>
    </dgm:pt>
    <dgm:pt modelId="{9DC21193-AE28-7342-907A-06423C90447B}" type="sibTrans" cxnId="{9A3F6A7F-A4A4-9E45-8DD3-DEBC86F9403C}">
      <dgm:prSet/>
      <dgm:spPr/>
      <dgm:t>
        <a:bodyPr/>
        <a:lstStyle/>
        <a:p>
          <a:endParaRPr lang="fr-FR"/>
        </a:p>
      </dgm:t>
    </dgm:pt>
    <dgm:pt modelId="{DF7C9FCB-81F9-1042-8B63-483FD41ED59D}">
      <dgm:prSet phldrT="[Texte]"/>
      <dgm:spPr/>
      <dgm:t>
        <a:bodyPr/>
        <a:lstStyle/>
        <a:p>
          <a:r>
            <a:rPr lang="fr-FR" dirty="0" smtClean="0">
              <a:latin typeface="Abadi MT Condensed Light"/>
              <a:cs typeface="Abadi MT Condensed Light"/>
            </a:rPr>
            <a:t>Son</a:t>
          </a:r>
          <a:endParaRPr lang="fr-FR" dirty="0">
            <a:latin typeface="Abadi MT Condensed Light"/>
            <a:cs typeface="Abadi MT Condensed Light"/>
          </a:endParaRPr>
        </a:p>
      </dgm:t>
    </dgm:pt>
    <dgm:pt modelId="{5A278B7C-2645-F842-B631-3612426CE0DB}" type="parTrans" cxnId="{4B7BAF3F-4254-8849-B015-D05ACEA78938}">
      <dgm:prSet/>
      <dgm:spPr/>
      <dgm:t>
        <a:bodyPr/>
        <a:lstStyle/>
        <a:p>
          <a:endParaRPr lang="fr-FR"/>
        </a:p>
      </dgm:t>
    </dgm:pt>
    <dgm:pt modelId="{7E022BBC-1349-944E-9259-E7F71859C7B2}" type="sibTrans" cxnId="{4B7BAF3F-4254-8849-B015-D05ACEA78938}">
      <dgm:prSet/>
      <dgm:spPr/>
      <dgm:t>
        <a:bodyPr/>
        <a:lstStyle/>
        <a:p>
          <a:endParaRPr lang="fr-FR"/>
        </a:p>
      </dgm:t>
    </dgm:pt>
    <dgm:pt modelId="{87A42E23-4B3B-F44D-9916-FBC67262345F}">
      <dgm:prSet phldrT="[Texte]" custT="1"/>
      <dgm:spPr/>
      <dgm:t>
        <a:bodyPr/>
        <a:lstStyle/>
        <a:p>
          <a:r>
            <a:rPr lang="fr-FR" sz="4000" dirty="0" smtClean="0">
              <a:latin typeface="Abadi MT Condensed Light"/>
              <a:cs typeface="Abadi MT Condensed Light"/>
            </a:rPr>
            <a:t>Ressentir/manipuler</a:t>
          </a:r>
          <a:r>
            <a:rPr lang="fr-FR" sz="3200" dirty="0" smtClean="0">
              <a:latin typeface="Abadi MT Condensed Light"/>
              <a:cs typeface="Abadi MT Condensed Light"/>
            </a:rPr>
            <a:t/>
          </a:r>
          <a:br>
            <a:rPr lang="fr-FR" sz="3200" dirty="0" smtClean="0">
              <a:latin typeface="Abadi MT Condensed Light"/>
              <a:cs typeface="Abadi MT Condensed Light"/>
            </a:rPr>
          </a:br>
          <a:r>
            <a:rPr lang="fr-FR" sz="2400" dirty="0" smtClean="0">
              <a:latin typeface="Abadi MT Condensed Light"/>
              <a:cs typeface="Abadi MT Condensed Light"/>
            </a:rPr>
            <a:t> </a:t>
          </a:r>
          <a:r>
            <a:rPr lang="fr-FR" sz="2800" dirty="0" smtClean="0">
              <a:latin typeface="Abadi MT Condensed Light"/>
              <a:cs typeface="Abadi MT Condensed Light"/>
            </a:rPr>
            <a:t>(réel ou imaginaire)</a:t>
          </a:r>
          <a:endParaRPr lang="fr-FR" sz="2800" dirty="0">
            <a:latin typeface="Abadi MT Condensed Light"/>
            <a:cs typeface="Abadi MT Condensed Light"/>
          </a:endParaRPr>
        </a:p>
      </dgm:t>
    </dgm:pt>
    <dgm:pt modelId="{9EDEC9D4-629E-064F-B665-CA3FF2FDA5C7}" type="parTrans" cxnId="{7956A53A-D768-844C-8971-771093804F23}">
      <dgm:prSet/>
      <dgm:spPr/>
      <dgm:t>
        <a:bodyPr/>
        <a:lstStyle/>
        <a:p>
          <a:endParaRPr lang="fr-FR"/>
        </a:p>
      </dgm:t>
    </dgm:pt>
    <dgm:pt modelId="{5CDA813C-F6CB-B54B-BC0C-5F704A3E52EE}" type="sibTrans" cxnId="{7956A53A-D768-844C-8971-771093804F23}">
      <dgm:prSet/>
      <dgm:spPr/>
      <dgm:t>
        <a:bodyPr/>
        <a:lstStyle/>
        <a:p>
          <a:endParaRPr lang="fr-FR"/>
        </a:p>
      </dgm:t>
    </dgm:pt>
    <dgm:pt modelId="{66C148A6-1E4A-3846-8539-7410EF19BAF4}" type="pres">
      <dgm:prSet presAssocID="{9168ED62-121E-1A4E-83BC-FCE9576A6BB3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461ED39F-B98D-C547-908D-D5855BE1E1F4}" type="pres">
      <dgm:prSet presAssocID="{92A586B1-AB5D-1F4F-BAD3-E92E69FCCE92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C3C0BDC-10EC-FC42-99F1-02DBC5B5DC57}" type="pres">
      <dgm:prSet presAssocID="{F3E101EE-0318-8041-8A0C-D6FCEFEC5084}" presName="sibTrans" presStyleCnt="0"/>
      <dgm:spPr/>
    </dgm:pt>
    <dgm:pt modelId="{C9C11FE0-6913-BE48-BB83-425D49116711}" type="pres">
      <dgm:prSet presAssocID="{B83F9E5B-967F-2B47-8738-3E371DBB2DE3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763514DA-9CEF-2342-898C-F58E9237684C}" type="pres">
      <dgm:prSet presAssocID="{763A846D-3684-D440-8D95-11F1B48FAC8E}" presName="sibTrans" presStyleCnt="0"/>
      <dgm:spPr/>
    </dgm:pt>
    <dgm:pt modelId="{234A9E13-E6F6-BC4C-B1FC-DE15E0C67AC8}" type="pres">
      <dgm:prSet presAssocID="{73777C47-25B5-0B46-A388-E30BBF85CBB6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F6F8CC5-EC13-414A-B576-7985ABCE5826}" type="pres">
      <dgm:prSet presAssocID="{9DC21193-AE28-7342-907A-06423C90447B}" presName="sibTrans" presStyleCnt="0"/>
      <dgm:spPr/>
    </dgm:pt>
    <dgm:pt modelId="{989ADF59-373D-B347-8A8D-F7259FA2B675}" type="pres">
      <dgm:prSet presAssocID="{DF7C9FCB-81F9-1042-8B63-483FD41ED59D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20AE356-589B-2941-909B-F219634B38D4}" type="pres">
      <dgm:prSet presAssocID="{7E022BBC-1349-944E-9259-E7F71859C7B2}" presName="sibTrans" presStyleCnt="0"/>
      <dgm:spPr/>
    </dgm:pt>
    <dgm:pt modelId="{ECD9C1AC-BF40-674E-913B-5F1773CB9B3E}" type="pres">
      <dgm:prSet presAssocID="{87A42E23-4B3B-F44D-9916-FBC67262345F}" presName="node" presStyleLbl="node1" presStyleIdx="4" presStyleCnt="5" custScaleX="208931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7956A53A-D768-844C-8971-771093804F23}" srcId="{9168ED62-121E-1A4E-83BC-FCE9576A6BB3}" destId="{87A42E23-4B3B-F44D-9916-FBC67262345F}" srcOrd="4" destOrd="0" parTransId="{9EDEC9D4-629E-064F-B665-CA3FF2FDA5C7}" sibTransId="{5CDA813C-F6CB-B54B-BC0C-5F704A3E52EE}"/>
    <dgm:cxn modelId="{3B6F947E-A281-5246-8793-7E6897EEAAA5}" srcId="{9168ED62-121E-1A4E-83BC-FCE9576A6BB3}" destId="{B83F9E5B-967F-2B47-8738-3E371DBB2DE3}" srcOrd="1" destOrd="0" parTransId="{F259500C-9D94-FE40-8130-A66A74DEB8F1}" sibTransId="{763A846D-3684-D440-8D95-11F1B48FAC8E}"/>
    <dgm:cxn modelId="{FA0CB5C2-0A20-BF42-9716-4D757A87AE2C}" type="presOf" srcId="{92A586B1-AB5D-1F4F-BAD3-E92E69FCCE92}" destId="{461ED39F-B98D-C547-908D-D5855BE1E1F4}" srcOrd="0" destOrd="0" presId="urn:microsoft.com/office/officeart/2005/8/layout/default"/>
    <dgm:cxn modelId="{7C85EBFC-360B-0641-98D2-EE4866420DFD}" type="presOf" srcId="{DF7C9FCB-81F9-1042-8B63-483FD41ED59D}" destId="{989ADF59-373D-B347-8A8D-F7259FA2B675}" srcOrd="0" destOrd="0" presId="urn:microsoft.com/office/officeart/2005/8/layout/default"/>
    <dgm:cxn modelId="{222FE89C-F415-034F-B6FE-899E6196BCFE}" type="presOf" srcId="{73777C47-25B5-0B46-A388-E30BBF85CBB6}" destId="{234A9E13-E6F6-BC4C-B1FC-DE15E0C67AC8}" srcOrd="0" destOrd="0" presId="urn:microsoft.com/office/officeart/2005/8/layout/default"/>
    <dgm:cxn modelId="{2C666CFD-4392-B44A-8766-C0A18B56A625}" type="presOf" srcId="{9168ED62-121E-1A4E-83BC-FCE9576A6BB3}" destId="{66C148A6-1E4A-3846-8539-7410EF19BAF4}" srcOrd="0" destOrd="0" presId="urn:microsoft.com/office/officeart/2005/8/layout/default"/>
    <dgm:cxn modelId="{9A3F6A7F-A4A4-9E45-8DD3-DEBC86F9403C}" srcId="{9168ED62-121E-1A4E-83BC-FCE9576A6BB3}" destId="{73777C47-25B5-0B46-A388-E30BBF85CBB6}" srcOrd="2" destOrd="0" parTransId="{BF811D1C-C830-6040-9943-744B84C5DE98}" sibTransId="{9DC21193-AE28-7342-907A-06423C90447B}"/>
    <dgm:cxn modelId="{AA06A13B-B0AD-7D48-9EC2-3317F36C7D6F}" srcId="{9168ED62-121E-1A4E-83BC-FCE9576A6BB3}" destId="{92A586B1-AB5D-1F4F-BAD3-E92E69FCCE92}" srcOrd="0" destOrd="0" parTransId="{FCAFB9F1-E131-334F-86DC-3F3F6A3F3056}" sibTransId="{F3E101EE-0318-8041-8A0C-D6FCEFEC5084}"/>
    <dgm:cxn modelId="{A08E8A8A-070A-3D45-AC46-C940DBCAE877}" type="presOf" srcId="{B83F9E5B-967F-2B47-8738-3E371DBB2DE3}" destId="{C9C11FE0-6913-BE48-BB83-425D49116711}" srcOrd="0" destOrd="0" presId="urn:microsoft.com/office/officeart/2005/8/layout/default"/>
    <dgm:cxn modelId="{4B7BAF3F-4254-8849-B015-D05ACEA78938}" srcId="{9168ED62-121E-1A4E-83BC-FCE9576A6BB3}" destId="{DF7C9FCB-81F9-1042-8B63-483FD41ED59D}" srcOrd="3" destOrd="0" parTransId="{5A278B7C-2645-F842-B631-3612426CE0DB}" sibTransId="{7E022BBC-1349-944E-9259-E7F71859C7B2}"/>
    <dgm:cxn modelId="{B374F5A3-1F65-F14A-8DF5-0DE998128671}" type="presOf" srcId="{87A42E23-4B3B-F44D-9916-FBC67262345F}" destId="{ECD9C1AC-BF40-674E-913B-5F1773CB9B3E}" srcOrd="0" destOrd="0" presId="urn:microsoft.com/office/officeart/2005/8/layout/default"/>
    <dgm:cxn modelId="{B648DE39-C329-8847-B477-94F5591296CA}" type="presParOf" srcId="{66C148A6-1E4A-3846-8539-7410EF19BAF4}" destId="{461ED39F-B98D-C547-908D-D5855BE1E1F4}" srcOrd="0" destOrd="0" presId="urn:microsoft.com/office/officeart/2005/8/layout/default"/>
    <dgm:cxn modelId="{1A1F6835-22C2-0B4F-9DF7-630144382142}" type="presParOf" srcId="{66C148A6-1E4A-3846-8539-7410EF19BAF4}" destId="{0C3C0BDC-10EC-FC42-99F1-02DBC5B5DC57}" srcOrd="1" destOrd="0" presId="urn:microsoft.com/office/officeart/2005/8/layout/default"/>
    <dgm:cxn modelId="{C96F797E-27E6-6B45-B9B7-3472C2F4AD77}" type="presParOf" srcId="{66C148A6-1E4A-3846-8539-7410EF19BAF4}" destId="{C9C11FE0-6913-BE48-BB83-425D49116711}" srcOrd="2" destOrd="0" presId="urn:microsoft.com/office/officeart/2005/8/layout/default"/>
    <dgm:cxn modelId="{BB484657-0D96-E64B-AFDC-D94F51116F5B}" type="presParOf" srcId="{66C148A6-1E4A-3846-8539-7410EF19BAF4}" destId="{763514DA-9CEF-2342-898C-F58E9237684C}" srcOrd="3" destOrd="0" presId="urn:microsoft.com/office/officeart/2005/8/layout/default"/>
    <dgm:cxn modelId="{2A749683-48F2-F246-A16B-570330DBF624}" type="presParOf" srcId="{66C148A6-1E4A-3846-8539-7410EF19BAF4}" destId="{234A9E13-E6F6-BC4C-B1FC-DE15E0C67AC8}" srcOrd="4" destOrd="0" presId="urn:microsoft.com/office/officeart/2005/8/layout/default"/>
    <dgm:cxn modelId="{9B4D17C7-9457-EB48-A6C2-C4BA9FD33063}" type="presParOf" srcId="{66C148A6-1E4A-3846-8539-7410EF19BAF4}" destId="{4F6F8CC5-EC13-414A-B576-7985ABCE5826}" srcOrd="5" destOrd="0" presId="urn:microsoft.com/office/officeart/2005/8/layout/default"/>
    <dgm:cxn modelId="{264C8C6F-B00C-1642-B257-7966992813FC}" type="presParOf" srcId="{66C148A6-1E4A-3846-8539-7410EF19BAF4}" destId="{989ADF59-373D-B347-8A8D-F7259FA2B675}" srcOrd="6" destOrd="0" presId="urn:microsoft.com/office/officeart/2005/8/layout/default"/>
    <dgm:cxn modelId="{8D76A7D4-71EA-2C4F-9411-F8EC6665D380}" type="presParOf" srcId="{66C148A6-1E4A-3846-8539-7410EF19BAF4}" destId="{220AE356-589B-2941-909B-F219634B38D4}" srcOrd="7" destOrd="0" presId="urn:microsoft.com/office/officeart/2005/8/layout/default"/>
    <dgm:cxn modelId="{EB480511-2E9A-B547-BFBE-9D7F6D252049}" type="presParOf" srcId="{66C148A6-1E4A-3846-8539-7410EF19BAF4}" destId="{ECD9C1AC-BF40-674E-913B-5F1773CB9B3E}" srcOrd="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61ED39F-B98D-C547-908D-D5855BE1E1F4}">
      <dsp:nvSpPr>
        <dsp:cNvPr id="0" name=""/>
        <dsp:cNvSpPr/>
      </dsp:nvSpPr>
      <dsp:spPr>
        <a:xfrm>
          <a:off x="656" y="665064"/>
          <a:ext cx="2559566" cy="153574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lvl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3400" kern="1200" dirty="0" smtClean="0">
              <a:latin typeface="Abadi MT Condensed Light"/>
              <a:cs typeface="Abadi MT Condensed Light"/>
            </a:rPr>
            <a:t>Priorité au visuel</a:t>
          </a:r>
          <a:endParaRPr lang="fr-FR" sz="3400" kern="1200" dirty="0">
            <a:latin typeface="Abadi MT Condensed Light"/>
            <a:cs typeface="Abadi MT Condensed Light"/>
          </a:endParaRPr>
        </a:p>
      </dsp:txBody>
      <dsp:txXfrm>
        <a:off x="656" y="665064"/>
        <a:ext cx="2559566" cy="1535740"/>
      </dsp:txXfrm>
    </dsp:sp>
    <dsp:sp modelId="{C9C11FE0-6913-BE48-BB83-425D49116711}">
      <dsp:nvSpPr>
        <dsp:cNvPr id="0" name=""/>
        <dsp:cNvSpPr/>
      </dsp:nvSpPr>
      <dsp:spPr>
        <a:xfrm>
          <a:off x="2816179" y="665064"/>
          <a:ext cx="2559566" cy="153574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lvl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3400" kern="1200" dirty="0" smtClean="0">
              <a:latin typeface="Abadi MT Condensed Light"/>
              <a:cs typeface="Abadi MT Condensed Light"/>
            </a:rPr>
            <a:t>Mot-clé </a:t>
          </a:r>
          <a:br>
            <a:rPr lang="fr-FR" sz="3400" kern="1200" dirty="0" smtClean="0">
              <a:latin typeface="Abadi MT Condensed Light"/>
              <a:cs typeface="Abadi MT Condensed Light"/>
            </a:rPr>
          </a:br>
          <a:r>
            <a:rPr lang="fr-FR" sz="3400" kern="1200" dirty="0" smtClean="0">
              <a:latin typeface="Abadi MT Condensed Light"/>
              <a:cs typeface="Abadi MT Condensed Light"/>
            </a:rPr>
            <a:t>+ Image</a:t>
          </a:r>
          <a:endParaRPr lang="fr-FR" sz="3400" kern="1200" dirty="0">
            <a:latin typeface="Abadi MT Condensed Light"/>
            <a:cs typeface="Abadi MT Condensed Light"/>
          </a:endParaRPr>
        </a:p>
      </dsp:txBody>
      <dsp:txXfrm>
        <a:off x="2816179" y="665064"/>
        <a:ext cx="2559566" cy="1535740"/>
      </dsp:txXfrm>
    </dsp:sp>
    <dsp:sp modelId="{234A9E13-E6F6-BC4C-B1FC-DE15E0C67AC8}">
      <dsp:nvSpPr>
        <dsp:cNvPr id="0" name=""/>
        <dsp:cNvSpPr/>
      </dsp:nvSpPr>
      <dsp:spPr>
        <a:xfrm>
          <a:off x="656" y="2456761"/>
          <a:ext cx="2559566" cy="153574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lvl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3400" kern="1200" dirty="0" smtClean="0">
              <a:latin typeface="Abadi MT Condensed Light"/>
              <a:cs typeface="Abadi MT Condensed Light"/>
            </a:rPr>
            <a:t>Mouvement </a:t>
          </a:r>
          <a:endParaRPr lang="fr-FR" sz="3400" kern="1200" dirty="0">
            <a:latin typeface="Abadi MT Condensed Light"/>
            <a:cs typeface="Abadi MT Condensed Light"/>
          </a:endParaRPr>
        </a:p>
      </dsp:txBody>
      <dsp:txXfrm>
        <a:off x="656" y="2456761"/>
        <a:ext cx="2559566" cy="1535740"/>
      </dsp:txXfrm>
    </dsp:sp>
    <dsp:sp modelId="{989ADF59-373D-B347-8A8D-F7259FA2B675}">
      <dsp:nvSpPr>
        <dsp:cNvPr id="0" name=""/>
        <dsp:cNvSpPr/>
      </dsp:nvSpPr>
      <dsp:spPr>
        <a:xfrm>
          <a:off x="2816179" y="2456761"/>
          <a:ext cx="2559566" cy="153574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lvl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3400" kern="1200" dirty="0" smtClean="0">
              <a:latin typeface="Abadi MT Condensed Light"/>
              <a:cs typeface="Abadi MT Condensed Light"/>
            </a:rPr>
            <a:t>Son</a:t>
          </a:r>
          <a:endParaRPr lang="fr-FR" sz="3400" kern="1200" dirty="0">
            <a:latin typeface="Abadi MT Condensed Light"/>
            <a:cs typeface="Abadi MT Condensed Light"/>
          </a:endParaRPr>
        </a:p>
      </dsp:txBody>
      <dsp:txXfrm>
        <a:off x="2816179" y="2456761"/>
        <a:ext cx="2559566" cy="1535740"/>
      </dsp:txXfrm>
    </dsp:sp>
    <dsp:sp modelId="{ECD9C1AC-BF40-674E-913B-5F1773CB9B3E}">
      <dsp:nvSpPr>
        <dsp:cNvPr id="0" name=""/>
        <dsp:cNvSpPr/>
      </dsp:nvSpPr>
      <dsp:spPr>
        <a:xfrm>
          <a:off x="14337" y="4248458"/>
          <a:ext cx="5347728" cy="153574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0" tIns="152400" rIns="152400" bIns="152400" numCol="1" spcCol="1270" anchor="ctr" anchorCtr="0">
          <a:noAutofit/>
        </a:bodyPr>
        <a:lstStyle/>
        <a:p>
          <a:pPr lvl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4000" kern="1200" dirty="0" smtClean="0">
              <a:latin typeface="Abadi MT Condensed Light"/>
              <a:cs typeface="Abadi MT Condensed Light"/>
            </a:rPr>
            <a:t>Ressentir/manipuler</a:t>
          </a:r>
          <a:r>
            <a:rPr lang="fr-FR" sz="3200" kern="1200" dirty="0" smtClean="0">
              <a:latin typeface="Abadi MT Condensed Light"/>
              <a:cs typeface="Abadi MT Condensed Light"/>
            </a:rPr>
            <a:t/>
          </a:r>
          <a:br>
            <a:rPr lang="fr-FR" sz="3200" kern="1200" dirty="0" smtClean="0">
              <a:latin typeface="Abadi MT Condensed Light"/>
              <a:cs typeface="Abadi MT Condensed Light"/>
            </a:rPr>
          </a:br>
          <a:r>
            <a:rPr lang="fr-FR" sz="2400" kern="1200" dirty="0" smtClean="0">
              <a:latin typeface="Abadi MT Condensed Light"/>
              <a:cs typeface="Abadi MT Condensed Light"/>
            </a:rPr>
            <a:t> </a:t>
          </a:r>
          <a:r>
            <a:rPr lang="fr-FR" sz="2800" kern="1200" dirty="0" smtClean="0">
              <a:latin typeface="Abadi MT Condensed Light"/>
              <a:cs typeface="Abadi MT Condensed Light"/>
            </a:rPr>
            <a:t>(réel ou imaginaire)</a:t>
          </a:r>
          <a:endParaRPr lang="fr-FR" sz="2800" kern="1200" dirty="0">
            <a:latin typeface="Abadi MT Condensed Light"/>
            <a:cs typeface="Abadi MT Condensed Light"/>
          </a:endParaRPr>
        </a:p>
      </dsp:txBody>
      <dsp:txXfrm>
        <a:off x="14337" y="4248458"/>
        <a:ext cx="5347728" cy="153574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633913" cy="3778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6057900" y="0"/>
            <a:ext cx="4632325" cy="3778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F2322C-736A-0248-B96F-506CEFDBAC2D}" type="datetimeFigureOut">
              <a:rPr lang="fr-FR" smtClean="0"/>
              <a:t>27/10/2017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7177088"/>
            <a:ext cx="4633913" cy="3778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6057900" y="7177088"/>
            <a:ext cx="4632325" cy="3778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4C2FB0-66BA-4A43-B87A-24737ABE937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4208443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633913" cy="3778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6057900" y="0"/>
            <a:ext cx="4632325" cy="3778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0FFE9E-6F4E-FC48-93E8-226D5D4A325B}" type="datetimeFigureOut">
              <a:rPr lang="fr-FR" smtClean="0"/>
              <a:t>27/10/2017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3341688" y="566738"/>
            <a:ext cx="4010025" cy="2833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1069975" y="3589338"/>
            <a:ext cx="8553450" cy="3400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7177088"/>
            <a:ext cx="4633913" cy="3778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6057900" y="7177088"/>
            <a:ext cx="4632325" cy="3778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84B111-2CFE-D941-A352-116F93ECE27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3913039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156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57156" algn="l" defTabSz="457156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14311" algn="l" defTabSz="457156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371467" algn="l" defTabSz="457156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828622" algn="l" defTabSz="457156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285778" algn="l" defTabSz="457156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742933" algn="l" defTabSz="457156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200089" algn="l" defTabSz="457156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657245" algn="l" defTabSz="457156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badi MT Condensed Light"/>
                <a:cs typeface="Abadi MT Condensed Light"/>
              </a:rPr>
              <a:t>Un nouveau défi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84B111-2CFE-D941-A352-116F93ECE275}" type="slidenum">
              <a:rPr lang="fr-FR" smtClean="0"/>
              <a:t>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944708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614034" y="5095699"/>
            <a:ext cx="4722918" cy="102852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fr-FR" smtClean="0"/>
              <a:t>Cliquez et modifiez le titr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14034" y="6129162"/>
            <a:ext cx="4722918" cy="824795"/>
          </a:xfrm>
        </p:spPr>
        <p:txBody>
          <a:bodyPr>
            <a:normAutofit/>
          </a:bodyPr>
          <a:lstStyle>
            <a:lvl1pPr marL="0" indent="0" algn="l">
              <a:spcBef>
                <a:spcPts val="342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5213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6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3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3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7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Cliquez pour modifier le style des sous-titres du masque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614051" y="7080105"/>
            <a:ext cx="1441511" cy="402314"/>
          </a:xfrm>
        </p:spPr>
        <p:txBody>
          <a:bodyPr/>
          <a:lstStyle>
            <a:lvl1pPr algn="l">
              <a:defRPr/>
            </a:lvl1pPr>
          </a:lstStyle>
          <a:p>
            <a:fld id="{C1E43E8F-BCDC-6140-A462-1B60B911C130}" type="datetime1">
              <a:rPr lang="fr-FR" smtClean="0"/>
              <a:t>2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380544" y="7080105"/>
            <a:ext cx="3061248" cy="402314"/>
          </a:xfrm>
        </p:spPr>
        <p:txBody>
          <a:bodyPr/>
          <a:lstStyle>
            <a:lvl1pPr algn="r">
              <a:defRPr/>
            </a:lvl1pPr>
          </a:lstStyle>
          <a:p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330458" y="251894"/>
            <a:ext cx="4953122" cy="46145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68" tIns="52133" rIns="104268" bIns="52133" rtlCol="0" anchor="ctr"/>
          <a:lstStyle/>
          <a:p>
            <a:pPr algn="ctr"/>
            <a:endParaRPr/>
          </a:p>
        </p:txBody>
      </p:sp>
      <p:sp>
        <p:nvSpPr>
          <p:cNvPr id="8" name="Rectangle 7"/>
          <p:cNvSpPr/>
          <p:nvPr/>
        </p:nvSpPr>
        <p:spPr>
          <a:xfrm>
            <a:off x="7955088" y="251888"/>
            <a:ext cx="2406017" cy="224679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68" tIns="52133" rIns="104268" bIns="52133" rtlCol="0" anchor="ctr"/>
          <a:lstStyle/>
          <a:p>
            <a:pPr algn="ctr"/>
            <a:endParaRPr/>
          </a:p>
        </p:txBody>
      </p:sp>
      <p:sp>
        <p:nvSpPr>
          <p:cNvPr id="10" name="Rectangle 9"/>
          <p:cNvSpPr/>
          <p:nvPr/>
        </p:nvSpPr>
        <p:spPr>
          <a:xfrm>
            <a:off x="5407980" y="2619589"/>
            <a:ext cx="2406017" cy="22467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68" tIns="52133" rIns="104268" bIns="52133" rtlCol="0" anchor="ctr"/>
          <a:lstStyle/>
          <a:p>
            <a:pPr marL="0" algn="ctr" defTabSz="1042680" rtl="0" eaLnBrk="1" latinLnBrk="0" hangingPunct="1"/>
            <a:endParaRPr sz="21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96890" y="192628"/>
            <a:ext cx="483342" cy="9541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62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407980" y="251888"/>
            <a:ext cx="2406017" cy="224679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68" tIns="52133" rIns="104268" bIns="52133" rtlCol="0" anchor="ctr"/>
          <a:lstStyle/>
          <a:p>
            <a:pPr algn="ctr"/>
            <a:endParaRPr/>
          </a:p>
        </p:txBody>
      </p:sp>
      <p:sp>
        <p:nvSpPr>
          <p:cNvPr id="12" name="Rectangle 11"/>
          <p:cNvSpPr/>
          <p:nvPr/>
        </p:nvSpPr>
        <p:spPr>
          <a:xfrm>
            <a:off x="7955088" y="2619589"/>
            <a:ext cx="2406017" cy="22467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68" tIns="52133" rIns="104268" bIns="52133" rtlCol="0" anchor="ctr"/>
          <a:lstStyle/>
          <a:p>
            <a:pPr algn="ctr"/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9550690" y="311367"/>
            <a:ext cx="802007" cy="17631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68" tIns="52133" rIns="104268" bIns="52133" rtlCol="0" anchor="ctr"/>
          <a:lstStyle/>
          <a:p>
            <a:pPr algn="ctr"/>
            <a:endParaRPr/>
          </a:p>
        </p:txBody>
      </p:sp>
      <p:sp>
        <p:nvSpPr>
          <p:cNvPr id="10" name="TextBox 9"/>
          <p:cNvSpPr txBox="1"/>
          <p:nvPr/>
        </p:nvSpPr>
        <p:spPr>
          <a:xfrm>
            <a:off x="261005" y="251884"/>
            <a:ext cx="305120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41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E2941F-A541-3747-86A2-A258DA51617A}" type="datetime1">
              <a:rPr lang="fr-FR" smtClean="0"/>
              <a:t>27/10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F1D00-BD13-4404-86B0-79703945A0A7}" type="slidenum">
              <a:rPr lang="en-US" smtClean="0"/>
              <a:t>‹N°›</a:t>
            </a:fld>
            <a:endParaRPr lang="en-US"/>
          </a:p>
        </p:txBody>
      </p:sp>
      <p:sp>
        <p:nvSpPr>
          <p:cNvPr id="12" name="Content Placeholder 2"/>
          <p:cNvSpPr>
            <a:spLocks noGrp="1"/>
          </p:cNvSpPr>
          <p:nvPr>
            <p:ph sz="half" idx="17"/>
          </p:nvPr>
        </p:nvSpPr>
        <p:spPr>
          <a:xfrm>
            <a:off x="588140" y="2188248"/>
            <a:ext cx="4277141" cy="2166197"/>
          </a:xfrm>
        </p:spPr>
        <p:txBody>
          <a:bodyPr>
            <a:normAutofit/>
          </a:bodyPr>
          <a:lstStyle>
            <a:lvl1pPr>
              <a:defRPr sz="2100"/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8"/>
          </p:nvPr>
        </p:nvSpPr>
        <p:spPr>
          <a:xfrm>
            <a:off x="588140" y="4589184"/>
            <a:ext cx="4277141" cy="2166197"/>
          </a:xfrm>
        </p:spPr>
        <p:txBody>
          <a:bodyPr>
            <a:normAutofit/>
          </a:bodyPr>
          <a:lstStyle>
            <a:lvl1pPr>
              <a:defRPr sz="2100"/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dirty="0"/>
          </a:p>
        </p:txBody>
      </p:sp>
      <p:sp>
        <p:nvSpPr>
          <p:cNvPr id="15" name="Content Placeholder 2"/>
          <p:cNvSpPr>
            <a:spLocks noGrp="1"/>
          </p:cNvSpPr>
          <p:nvPr>
            <p:ph sz="half" idx="1"/>
          </p:nvPr>
        </p:nvSpPr>
        <p:spPr>
          <a:xfrm>
            <a:off x="5157340" y="2188248"/>
            <a:ext cx="4277360" cy="2166197"/>
          </a:xfrm>
        </p:spPr>
        <p:txBody>
          <a:bodyPr>
            <a:normAutofit/>
          </a:bodyPr>
          <a:lstStyle>
            <a:lvl1pPr>
              <a:defRPr sz="2100"/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dirty="0"/>
          </a:p>
        </p:txBody>
      </p:sp>
      <p:sp>
        <p:nvSpPr>
          <p:cNvPr id="16" name="Content Placeholder 2"/>
          <p:cNvSpPr>
            <a:spLocks noGrp="1"/>
          </p:cNvSpPr>
          <p:nvPr>
            <p:ph sz="half" idx="16"/>
          </p:nvPr>
        </p:nvSpPr>
        <p:spPr>
          <a:xfrm>
            <a:off x="5157340" y="4594363"/>
            <a:ext cx="4277360" cy="2166197"/>
          </a:xfrm>
        </p:spPr>
        <p:txBody>
          <a:bodyPr>
            <a:normAutofit/>
          </a:bodyPr>
          <a:lstStyle>
            <a:lvl1pPr>
              <a:defRPr sz="2100"/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9550690" y="311367"/>
            <a:ext cx="802007" cy="17631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68" tIns="52133" rIns="104268" bIns="52133" rtlCol="0" anchor="ctr"/>
          <a:lstStyle/>
          <a:p>
            <a:pPr algn="ctr"/>
            <a:endParaRPr/>
          </a:p>
        </p:txBody>
      </p:sp>
      <p:sp>
        <p:nvSpPr>
          <p:cNvPr id="8" name="TextBox 7"/>
          <p:cNvSpPr txBox="1"/>
          <p:nvPr/>
        </p:nvSpPr>
        <p:spPr>
          <a:xfrm>
            <a:off x="261005" y="251884"/>
            <a:ext cx="305120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41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D50F9-0F40-A845-AE6B-9D354B1E7F9D}" type="datetime1">
              <a:rPr lang="fr-FR" smtClean="0"/>
              <a:t>27/10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F1D00-BD13-4404-86B0-79703945A0A7}" type="slidenum">
              <a:rPr lang="en-US" smtClean="0"/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9550690" y="311354"/>
            <a:ext cx="802007" cy="3329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68" tIns="52133" rIns="104268" bIns="52133" rtlCol="0" anchor="ctr"/>
          <a:lstStyle/>
          <a:p>
            <a:pPr algn="ctr"/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0710DA-3B16-4643-A170-19F96BE9966C}" type="datetime1">
              <a:rPr lang="fr-FR" smtClean="0"/>
              <a:t>27/10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F1D00-BD13-4404-86B0-79703945A0A7}" type="slidenum">
              <a:rPr lang="en-US" smtClean="0"/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330471" y="251883"/>
            <a:ext cx="4036015" cy="69915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68" tIns="52133" rIns="104268" bIns="52133"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5037" y="2833698"/>
            <a:ext cx="3806850" cy="1280407"/>
          </a:xfrm>
        </p:spPr>
        <p:txBody>
          <a:bodyPr anchor="b">
            <a:normAutofit/>
          </a:bodyPr>
          <a:lstStyle>
            <a:lvl1pPr algn="l"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Cliquez et modifiez le titr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75167" y="300874"/>
            <a:ext cx="5376403" cy="6449263"/>
          </a:xfrm>
        </p:spPr>
        <p:txBody>
          <a:bodyPr>
            <a:normAutofit/>
          </a:bodyPr>
          <a:lstStyle>
            <a:lvl1pPr>
              <a:defRPr sz="2100"/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5667" y="4114096"/>
            <a:ext cx="3806850" cy="2636030"/>
          </a:xfrm>
        </p:spPr>
        <p:txBody>
          <a:bodyPr/>
          <a:lstStyle>
            <a:lvl1pPr marL="0" indent="0">
              <a:spcBef>
                <a:spcPts val="684"/>
              </a:spcBef>
              <a:buNone/>
              <a:defRPr sz="1600">
                <a:solidFill>
                  <a:schemeClr val="bg1"/>
                </a:solidFill>
              </a:defRPr>
            </a:lvl1pPr>
            <a:lvl2pPr marL="521341" indent="0">
              <a:buNone/>
              <a:defRPr sz="1400"/>
            </a:lvl2pPr>
            <a:lvl3pPr marL="1042680" indent="0">
              <a:buNone/>
              <a:defRPr sz="1100"/>
            </a:lvl3pPr>
            <a:lvl4pPr marL="1564021" indent="0">
              <a:buNone/>
              <a:defRPr sz="1000"/>
            </a:lvl4pPr>
            <a:lvl5pPr marL="2085362" indent="0">
              <a:buNone/>
              <a:defRPr sz="1000"/>
            </a:lvl5pPr>
            <a:lvl6pPr marL="2606700" indent="0">
              <a:buNone/>
              <a:defRPr sz="1000"/>
            </a:lvl6pPr>
            <a:lvl7pPr marL="3128041" indent="0">
              <a:buNone/>
              <a:defRPr sz="1000"/>
            </a:lvl7pPr>
            <a:lvl8pPr marL="3649381" indent="0">
              <a:buNone/>
              <a:defRPr sz="1000"/>
            </a:lvl8pPr>
            <a:lvl9pPr marL="4170721" indent="0">
              <a:buNone/>
              <a:defRPr sz="1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643837" y="7077839"/>
            <a:ext cx="1797958" cy="402314"/>
          </a:xfrm>
        </p:spPr>
        <p:txBody>
          <a:bodyPr/>
          <a:lstStyle/>
          <a:p>
            <a:fld id="{03DA9EF4-F3E6-B04C-9057-2C8041244100}" type="datetime1">
              <a:rPr lang="fr-FR" smtClean="0"/>
              <a:t>27/10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513245" y="7077839"/>
            <a:ext cx="3878977" cy="402314"/>
          </a:xfrm>
        </p:spPr>
        <p:txBody>
          <a:bodyPr/>
          <a:lstStyle/>
          <a:p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496890" y="192628"/>
            <a:ext cx="483342" cy="9541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62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9550690" y="311354"/>
            <a:ext cx="802007" cy="3329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68" tIns="52133" rIns="104268" bIns="52133"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75902" y="3442405"/>
            <a:ext cx="4558813" cy="960306"/>
          </a:xfrm>
        </p:spPr>
        <p:txBody>
          <a:bodyPr anchor="b">
            <a:normAutofit/>
          </a:bodyPr>
          <a:lstStyle>
            <a:lvl1pPr algn="l">
              <a:defRPr sz="3000" b="0"/>
            </a:lvl1pPr>
          </a:lstStyle>
          <a:p>
            <a:r>
              <a:rPr lang="fr-FR" smtClean="0"/>
              <a:t>Cliquez et modifiez le titr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25013" y="251883"/>
            <a:ext cx="4047047" cy="6991512"/>
          </a:xfrm>
        </p:spPr>
        <p:txBody>
          <a:bodyPr/>
          <a:lstStyle>
            <a:lvl1pPr marL="0" indent="0">
              <a:buNone/>
              <a:defRPr sz="3600"/>
            </a:lvl1pPr>
            <a:lvl2pPr marL="521341" indent="0">
              <a:buNone/>
              <a:defRPr sz="3200"/>
            </a:lvl2pPr>
            <a:lvl3pPr marL="1042680" indent="0">
              <a:buNone/>
              <a:defRPr sz="2700"/>
            </a:lvl3pPr>
            <a:lvl4pPr marL="1564021" indent="0">
              <a:buNone/>
              <a:defRPr sz="2300"/>
            </a:lvl4pPr>
            <a:lvl5pPr marL="2085362" indent="0">
              <a:buNone/>
              <a:defRPr sz="2300"/>
            </a:lvl5pPr>
            <a:lvl6pPr marL="2606700" indent="0">
              <a:buNone/>
              <a:defRPr sz="2300"/>
            </a:lvl6pPr>
            <a:lvl7pPr marL="3128041" indent="0">
              <a:buNone/>
              <a:defRPr sz="2300"/>
            </a:lvl7pPr>
            <a:lvl8pPr marL="3649381" indent="0">
              <a:buNone/>
              <a:defRPr sz="2300"/>
            </a:lvl8pPr>
            <a:lvl9pPr marL="4170721" indent="0">
              <a:buNone/>
              <a:defRPr sz="2300"/>
            </a:lvl9pPr>
          </a:lstStyle>
          <a:p>
            <a:r>
              <a:rPr lang="fr-FR" smtClean="0"/>
              <a:t>Faire glisser l'image vers l'espace réservé ou cliquer sur l'icône pour l'ajouter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875902" y="4402710"/>
            <a:ext cx="4558813" cy="2366654"/>
          </a:xfrm>
        </p:spPr>
        <p:txBody>
          <a:bodyPr/>
          <a:lstStyle>
            <a:lvl1pPr marL="0" indent="0">
              <a:spcBef>
                <a:spcPts val="684"/>
              </a:spcBef>
              <a:buNone/>
              <a:defRPr sz="1600"/>
            </a:lvl1pPr>
            <a:lvl2pPr marL="521341" indent="0">
              <a:buNone/>
              <a:defRPr sz="1400"/>
            </a:lvl2pPr>
            <a:lvl3pPr marL="1042680" indent="0">
              <a:buNone/>
              <a:defRPr sz="1100"/>
            </a:lvl3pPr>
            <a:lvl4pPr marL="1564021" indent="0">
              <a:buNone/>
              <a:defRPr sz="1000"/>
            </a:lvl4pPr>
            <a:lvl5pPr marL="2085362" indent="0">
              <a:buNone/>
              <a:defRPr sz="1000"/>
            </a:lvl5pPr>
            <a:lvl6pPr marL="2606700" indent="0">
              <a:buNone/>
              <a:defRPr sz="1000"/>
            </a:lvl6pPr>
            <a:lvl7pPr marL="3128041" indent="0">
              <a:buNone/>
              <a:defRPr sz="1000"/>
            </a:lvl7pPr>
            <a:lvl8pPr marL="3649381" indent="0">
              <a:buNone/>
              <a:defRPr sz="1000"/>
            </a:lvl8pPr>
            <a:lvl9pPr marL="4170721" indent="0">
              <a:buNone/>
              <a:defRPr sz="1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643837" y="7077839"/>
            <a:ext cx="1797958" cy="402314"/>
          </a:xfrm>
        </p:spPr>
        <p:txBody>
          <a:bodyPr/>
          <a:lstStyle/>
          <a:p>
            <a:fld id="{DEF640AA-75D0-0740-A8ED-CBE11CD9B722}" type="datetime1">
              <a:rPr lang="fr-FR" smtClean="0"/>
              <a:t>27/10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901145" y="7077839"/>
            <a:ext cx="3514342" cy="402314"/>
          </a:xfr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F1D00-BD13-4404-86B0-79703945A0A7}" type="slidenum">
              <a:rPr lang="en-US" smtClean="0"/>
              <a:t>‹N°›</a:t>
            </a:fld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4666227" y="3714046"/>
            <a:ext cx="257943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2700" b="1" baseline="0">
                <a:solidFill>
                  <a:schemeClr val="accent1">
                    <a:lumMod val="60000"/>
                    <a:lumOff val="40000"/>
                  </a:schemeClr>
                </a:solidFill>
              </a:rPr>
              <a:t>+ 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u-dessus de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2331" y="4874683"/>
            <a:ext cx="7240214" cy="918634"/>
          </a:xfrm>
        </p:spPr>
        <p:txBody>
          <a:bodyPr anchor="b">
            <a:normAutofit/>
          </a:bodyPr>
          <a:lstStyle>
            <a:lvl1pPr algn="l">
              <a:defRPr sz="3000" b="0"/>
            </a:lvl1pPr>
          </a:lstStyle>
          <a:p>
            <a:r>
              <a:rPr lang="fr-FR" smtClean="0"/>
              <a:t>Cliquez et modifiez le titr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24996" y="251894"/>
            <a:ext cx="7459172" cy="4614503"/>
          </a:xfrm>
        </p:spPr>
        <p:txBody>
          <a:bodyPr/>
          <a:lstStyle>
            <a:lvl1pPr marL="0" indent="0">
              <a:buNone/>
              <a:defRPr sz="3600"/>
            </a:lvl1pPr>
            <a:lvl2pPr marL="521341" indent="0">
              <a:buNone/>
              <a:defRPr sz="3200"/>
            </a:lvl2pPr>
            <a:lvl3pPr marL="1042680" indent="0">
              <a:buNone/>
              <a:defRPr sz="2700"/>
            </a:lvl3pPr>
            <a:lvl4pPr marL="1564021" indent="0">
              <a:buNone/>
              <a:defRPr sz="2300"/>
            </a:lvl4pPr>
            <a:lvl5pPr marL="2085362" indent="0">
              <a:buNone/>
              <a:defRPr sz="2300"/>
            </a:lvl5pPr>
            <a:lvl6pPr marL="2606700" indent="0">
              <a:buNone/>
              <a:defRPr sz="2300"/>
            </a:lvl6pPr>
            <a:lvl7pPr marL="3128041" indent="0">
              <a:buNone/>
              <a:defRPr sz="2300"/>
            </a:lvl7pPr>
            <a:lvl8pPr marL="3649381" indent="0">
              <a:buNone/>
              <a:defRPr sz="2300"/>
            </a:lvl8pPr>
            <a:lvl9pPr marL="4170721" indent="0">
              <a:buNone/>
              <a:defRPr sz="2300"/>
            </a:lvl9pPr>
          </a:lstStyle>
          <a:p>
            <a:r>
              <a:rPr lang="fr-FR" smtClean="0"/>
              <a:t>Faire glisser l'image vers l'espace réservé ou cliquer sur l'icône pour l'ajouter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2331" y="5793316"/>
            <a:ext cx="7240214" cy="976048"/>
          </a:xfrm>
        </p:spPr>
        <p:txBody>
          <a:bodyPr/>
          <a:lstStyle>
            <a:lvl1pPr marL="0" indent="0">
              <a:spcBef>
                <a:spcPts val="342"/>
              </a:spcBef>
              <a:buNone/>
              <a:defRPr sz="1600"/>
            </a:lvl1pPr>
            <a:lvl2pPr marL="521341" indent="0">
              <a:buNone/>
              <a:defRPr sz="1400"/>
            </a:lvl2pPr>
            <a:lvl3pPr marL="1042680" indent="0">
              <a:buNone/>
              <a:defRPr sz="1100"/>
            </a:lvl3pPr>
            <a:lvl4pPr marL="1564021" indent="0">
              <a:buNone/>
              <a:defRPr sz="1000"/>
            </a:lvl4pPr>
            <a:lvl5pPr marL="2085362" indent="0">
              <a:buNone/>
              <a:defRPr sz="1000"/>
            </a:lvl5pPr>
            <a:lvl6pPr marL="2606700" indent="0">
              <a:buNone/>
              <a:defRPr sz="1000"/>
            </a:lvl6pPr>
            <a:lvl7pPr marL="3128041" indent="0">
              <a:buNone/>
              <a:defRPr sz="1000"/>
            </a:lvl7pPr>
            <a:lvl8pPr marL="3649381" indent="0">
              <a:buNone/>
              <a:defRPr sz="1000"/>
            </a:lvl8pPr>
            <a:lvl9pPr marL="4170721" indent="0">
              <a:buNone/>
              <a:defRPr sz="1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440B6A-79F3-0545-A74A-79159269F448}" type="datetime1">
              <a:rPr lang="fr-FR" smtClean="0"/>
              <a:t>27/10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F1D00-BD13-4404-86B0-79703945A0A7}" type="slidenum">
              <a:rPr lang="en-US" smtClean="0"/>
              <a:t>‹N°›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7955088" y="251888"/>
            <a:ext cx="2406017" cy="22467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68" tIns="52133" rIns="104268" bIns="52133" rtlCol="0" anchor="ctr"/>
          <a:lstStyle/>
          <a:p>
            <a:pPr algn="ctr"/>
            <a:endParaRPr/>
          </a:p>
        </p:txBody>
      </p:sp>
      <p:sp>
        <p:nvSpPr>
          <p:cNvPr id="9" name="Rectangle 8"/>
          <p:cNvSpPr/>
          <p:nvPr/>
        </p:nvSpPr>
        <p:spPr>
          <a:xfrm>
            <a:off x="7955088" y="2619589"/>
            <a:ext cx="2406017" cy="22467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68" tIns="52133" rIns="104268" bIns="52133" rtlCol="0" anchor="ctr"/>
          <a:lstStyle/>
          <a:p>
            <a:pPr algn="ctr"/>
            <a:endParaRPr/>
          </a:p>
        </p:txBody>
      </p:sp>
      <p:sp>
        <p:nvSpPr>
          <p:cNvPr id="10" name="TextBox 9"/>
          <p:cNvSpPr txBox="1"/>
          <p:nvPr/>
        </p:nvSpPr>
        <p:spPr>
          <a:xfrm>
            <a:off x="382671" y="5104653"/>
            <a:ext cx="257943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2700" b="1" baseline="0">
                <a:solidFill>
                  <a:schemeClr val="accent1">
                    <a:lumMod val="60000"/>
                    <a:lumOff val="40000"/>
                  </a:schemeClr>
                </a:solidFill>
              </a:rPr>
              <a:t>+ 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images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330457" y="251883"/>
            <a:ext cx="7469436" cy="69915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68" tIns="52133" rIns="104268" bIns="52133"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5040" y="2833698"/>
            <a:ext cx="7229050" cy="1280407"/>
          </a:xfrm>
        </p:spPr>
        <p:txBody>
          <a:bodyPr anchor="b">
            <a:normAutofit/>
          </a:bodyPr>
          <a:lstStyle>
            <a:lvl1pPr algn="l"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Cliquez et modifiez le tit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5668" y="4114096"/>
            <a:ext cx="7226661" cy="2636030"/>
          </a:xfrm>
        </p:spPr>
        <p:txBody>
          <a:bodyPr/>
          <a:lstStyle>
            <a:lvl1pPr marL="0" indent="0">
              <a:spcBef>
                <a:spcPts val="684"/>
              </a:spcBef>
              <a:buNone/>
              <a:defRPr sz="1600">
                <a:solidFill>
                  <a:schemeClr val="bg1"/>
                </a:solidFill>
              </a:defRPr>
            </a:lvl1pPr>
            <a:lvl2pPr marL="521341" indent="0">
              <a:buNone/>
              <a:defRPr sz="1400"/>
            </a:lvl2pPr>
            <a:lvl3pPr marL="1042680" indent="0">
              <a:buNone/>
              <a:defRPr sz="1100"/>
            </a:lvl3pPr>
            <a:lvl4pPr marL="1564021" indent="0">
              <a:buNone/>
              <a:defRPr sz="1000"/>
            </a:lvl4pPr>
            <a:lvl5pPr marL="2085362" indent="0">
              <a:buNone/>
              <a:defRPr sz="1000"/>
            </a:lvl5pPr>
            <a:lvl6pPr marL="2606700" indent="0">
              <a:buNone/>
              <a:defRPr sz="1000"/>
            </a:lvl6pPr>
            <a:lvl7pPr marL="3128041" indent="0">
              <a:buNone/>
              <a:defRPr sz="1000"/>
            </a:lvl7pPr>
            <a:lvl8pPr marL="3649381" indent="0">
              <a:buNone/>
              <a:defRPr sz="1000"/>
            </a:lvl8pPr>
            <a:lvl9pPr marL="4170721" indent="0">
              <a:buNone/>
              <a:defRPr sz="1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5454" y="6870718"/>
            <a:ext cx="1576876" cy="40231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61F4F5-8864-064D-9E84-9999F69FD2FB}" type="datetime1">
              <a:rPr lang="fr-FR" smtClean="0"/>
              <a:t>27/10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45673" y="6870718"/>
            <a:ext cx="5435702" cy="40231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F1D00-BD13-4404-86B0-79703945A0A7}" type="slidenum">
              <a:rPr lang="en-US" smtClean="0"/>
              <a:t>‹N°›</a:t>
            </a:fld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496890" y="192628"/>
            <a:ext cx="483342" cy="9541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62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10" name="Rectangle 9"/>
          <p:cNvSpPr/>
          <p:nvPr/>
        </p:nvSpPr>
        <p:spPr>
          <a:xfrm>
            <a:off x="7955088" y="251888"/>
            <a:ext cx="2406017" cy="224679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68" tIns="52133" rIns="104268" bIns="52133" rtlCol="0" anchor="ctr"/>
          <a:lstStyle/>
          <a:p>
            <a:pPr algn="ctr"/>
            <a:endParaRPr/>
          </a:p>
        </p:txBody>
      </p:sp>
      <p:sp>
        <p:nvSpPr>
          <p:cNvPr id="12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7955088" y="2616833"/>
            <a:ext cx="2406017" cy="2246799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fr-FR" smtClean="0"/>
              <a:t>Faire glisser l'image vers l'espace réservé ou cliquer sur l'icône pour l'ajouter</a:t>
            </a:r>
            <a:endParaRPr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7955088" y="4997368"/>
            <a:ext cx="2406017" cy="2246799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fr-FR" smtClean="0"/>
              <a:t>Faire glisser l'image vers l'espace réservé ou cliquer sur l'icône pour l'ajouter</a:t>
            </a:r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images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330458" y="251883"/>
            <a:ext cx="4953122" cy="69915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68" tIns="52133" rIns="104268" bIns="52133"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5042" y="2833698"/>
            <a:ext cx="4697230" cy="1280407"/>
          </a:xfrm>
        </p:spPr>
        <p:txBody>
          <a:bodyPr anchor="b">
            <a:normAutofit/>
          </a:bodyPr>
          <a:lstStyle>
            <a:lvl1pPr algn="l"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Cliquez et modifiez le tit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5670" y="4114096"/>
            <a:ext cx="4695676" cy="2636030"/>
          </a:xfrm>
        </p:spPr>
        <p:txBody>
          <a:bodyPr/>
          <a:lstStyle>
            <a:lvl1pPr marL="0" indent="0">
              <a:spcBef>
                <a:spcPts val="684"/>
              </a:spcBef>
              <a:buNone/>
              <a:defRPr sz="1600">
                <a:solidFill>
                  <a:schemeClr val="bg1"/>
                </a:solidFill>
              </a:defRPr>
            </a:lvl1pPr>
            <a:lvl2pPr marL="521341" indent="0">
              <a:buNone/>
              <a:defRPr sz="1400"/>
            </a:lvl2pPr>
            <a:lvl3pPr marL="1042680" indent="0">
              <a:buNone/>
              <a:defRPr sz="1100"/>
            </a:lvl3pPr>
            <a:lvl4pPr marL="1564021" indent="0">
              <a:buNone/>
              <a:defRPr sz="1000"/>
            </a:lvl4pPr>
            <a:lvl5pPr marL="2085362" indent="0">
              <a:buNone/>
              <a:defRPr sz="1000"/>
            </a:lvl5pPr>
            <a:lvl6pPr marL="2606700" indent="0">
              <a:buNone/>
              <a:defRPr sz="1000"/>
            </a:lvl6pPr>
            <a:lvl7pPr marL="3128041" indent="0">
              <a:buNone/>
              <a:defRPr sz="1000"/>
            </a:lvl7pPr>
            <a:lvl8pPr marL="3649381" indent="0">
              <a:buNone/>
              <a:defRPr sz="1000"/>
            </a:lvl8pPr>
            <a:lvl9pPr marL="4170721" indent="0">
              <a:buNone/>
              <a:defRPr sz="1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3564467" y="6870718"/>
            <a:ext cx="1576876" cy="40231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35FD065-D7E8-1042-A77B-A942FB8C8E14}" type="datetime1">
              <a:rPr lang="fr-FR" smtClean="0"/>
              <a:t>27/10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45685" y="6870718"/>
            <a:ext cx="3029687" cy="40231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F1D00-BD13-4404-86B0-79703945A0A7}" type="slidenum">
              <a:rPr lang="en-US" smtClean="0"/>
              <a:t>‹N°›</a:t>
            </a:fld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496890" y="192628"/>
            <a:ext cx="483342" cy="9541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62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10" name="Rectangle 9"/>
          <p:cNvSpPr/>
          <p:nvPr/>
        </p:nvSpPr>
        <p:spPr>
          <a:xfrm>
            <a:off x="7955088" y="251888"/>
            <a:ext cx="2406017" cy="224679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68" tIns="52133" rIns="104268" bIns="52133" rtlCol="0" anchor="ctr"/>
          <a:lstStyle/>
          <a:p>
            <a:pPr algn="ctr"/>
            <a:endParaRPr/>
          </a:p>
        </p:txBody>
      </p:sp>
      <p:sp>
        <p:nvSpPr>
          <p:cNvPr id="11" name="Rectangle 10"/>
          <p:cNvSpPr/>
          <p:nvPr/>
        </p:nvSpPr>
        <p:spPr>
          <a:xfrm>
            <a:off x="5407980" y="4996597"/>
            <a:ext cx="2406017" cy="22467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68" tIns="52133" rIns="104268" bIns="52133" rtlCol="0" anchor="ctr"/>
          <a:lstStyle/>
          <a:p>
            <a:pPr algn="ctr"/>
            <a:endParaRPr/>
          </a:p>
        </p:txBody>
      </p:sp>
      <p:sp>
        <p:nvSpPr>
          <p:cNvPr id="12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5407980" y="251888"/>
            <a:ext cx="2406017" cy="2246799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fr-FR" smtClean="0"/>
              <a:t>Faire glisser l'image vers l'espace réservé ou cliquer sur l'icône pour l'ajouter</a:t>
            </a:r>
            <a:endParaRPr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5407980" y="2624241"/>
            <a:ext cx="2406017" cy="2246799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fr-FR" smtClean="0"/>
              <a:t>Faire glisser l'image vers l'espace réservé ou cliquer sur l'icône pour l'ajouter</a:t>
            </a:r>
            <a:endParaRPr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7955905" y="2624251"/>
            <a:ext cx="2406017" cy="4614503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fr-FR" smtClean="0"/>
              <a:t>Faire glisser l'image vers l'espace réservé ou cliquer sur l'icône pour l'ajouter</a:t>
            </a:r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images avec légende, alt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9550690" y="311354"/>
            <a:ext cx="802007" cy="3329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68" tIns="52133" rIns="104268" bIns="52133"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92259" y="3442405"/>
            <a:ext cx="3635755" cy="960306"/>
          </a:xfrm>
        </p:spPr>
        <p:txBody>
          <a:bodyPr anchor="b">
            <a:normAutofit/>
          </a:bodyPr>
          <a:lstStyle>
            <a:lvl1pPr algn="l">
              <a:defRPr sz="3000" b="0"/>
            </a:lvl1pPr>
          </a:lstStyle>
          <a:p>
            <a:r>
              <a:rPr lang="fr-FR" smtClean="0"/>
              <a:t>Cliquez et modifiez le titr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24996" y="2606165"/>
            <a:ext cx="4958585" cy="4614503"/>
          </a:xfrm>
        </p:spPr>
        <p:txBody>
          <a:bodyPr/>
          <a:lstStyle>
            <a:lvl1pPr marL="0" indent="0">
              <a:buNone/>
              <a:defRPr sz="3600"/>
            </a:lvl1pPr>
            <a:lvl2pPr marL="521341" indent="0">
              <a:buNone/>
              <a:defRPr sz="3200"/>
            </a:lvl2pPr>
            <a:lvl3pPr marL="1042680" indent="0">
              <a:buNone/>
              <a:defRPr sz="2700"/>
            </a:lvl3pPr>
            <a:lvl4pPr marL="1564021" indent="0">
              <a:buNone/>
              <a:defRPr sz="2300"/>
            </a:lvl4pPr>
            <a:lvl5pPr marL="2085362" indent="0">
              <a:buNone/>
              <a:defRPr sz="2300"/>
            </a:lvl5pPr>
            <a:lvl6pPr marL="2606700" indent="0">
              <a:buNone/>
              <a:defRPr sz="2300"/>
            </a:lvl6pPr>
            <a:lvl7pPr marL="3128041" indent="0">
              <a:buNone/>
              <a:defRPr sz="2300"/>
            </a:lvl7pPr>
            <a:lvl8pPr marL="3649381" indent="0">
              <a:buNone/>
              <a:defRPr sz="2300"/>
            </a:lvl8pPr>
            <a:lvl9pPr marL="4170721" indent="0">
              <a:buNone/>
              <a:defRPr sz="2300"/>
            </a:lvl9pPr>
          </a:lstStyle>
          <a:p>
            <a:r>
              <a:rPr lang="fr-FR" smtClean="0"/>
              <a:t>Faire glisser l'image vers l'espace réservé ou cliquer sur l'icône pour l'ajouter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92259" y="4402710"/>
            <a:ext cx="3635755" cy="2366654"/>
          </a:xfrm>
        </p:spPr>
        <p:txBody>
          <a:bodyPr/>
          <a:lstStyle>
            <a:lvl1pPr marL="0" indent="0">
              <a:spcBef>
                <a:spcPts val="684"/>
              </a:spcBef>
              <a:buNone/>
              <a:defRPr sz="1600"/>
            </a:lvl1pPr>
            <a:lvl2pPr marL="521341" indent="0">
              <a:buNone/>
              <a:defRPr sz="1400"/>
            </a:lvl2pPr>
            <a:lvl3pPr marL="1042680" indent="0">
              <a:buNone/>
              <a:defRPr sz="1100"/>
            </a:lvl3pPr>
            <a:lvl4pPr marL="1564021" indent="0">
              <a:buNone/>
              <a:defRPr sz="1000"/>
            </a:lvl4pPr>
            <a:lvl5pPr marL="2085362" indent="0">
              <a:buNone/>
              <a:defRPr sz="1000"/>
            </a:lvl5pPr>
            <a:lvl6pPr marL="2606700" indent="0">
              <a:buNone/>
              <a:defRPr sz="1000"/>
            </a:lvl6pPr>
            <a:lvl7pPr marL="3128041" indent="0">
              <a:buNone/>
              <a:defRPr sz="1000"/>
            </a:lvl7pPr>
            <a:lvl8pPr marL="3649381" indent="0">
              <a:buNone/>
              <a:defRPr sz="1000"/>
            </a:lvl8pPr>
            <a:lvl9pPr marL="4170721" indent="0">
              <a:buNone/>
              <a:defRPr sz="1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643837" y="7077839"/>
            <a:ext cx="1797958" cy="402314"/>
          </a:xfrm>
        </p:spPr>
        <p:txBody>
          <a:bodyPr/>
          <a:lstStyle/>
          <a:p>
            <a:fld id="{69CEE65E-33CE-DF44-B07D-AC2541F922E9}" type="datetime1">
              <a:rPr lang="fr-FR" smtClean="0"/>
              <a:t>27/10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901145" y="7077839"/>
            <a:ext cx="3514342" cy="402314"/>
          </a:xfr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F1D00-BD13-4404-86B0-79703945A0A7}" type="slidenum">
              <a:rPr lang="en-US" smtClean="0"/>
              <a:t>‹N°›</a:t>
            </a:fld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5555297" y="3714046"/>
            <a:ext cx="257943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2700" b="1" baseline="0">
                <a:solidFill>
                  <a:schemeClr val="accent1">
                    <a:lumMod val="60000"/>
                    <a:lumOff val="40000"/>
                  </a:schemeClr>
                </a:solidFill>
              </a:rPr>
              <a:t>+ </a:t>
            </a:r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325007" y="251888"/>
            <a:ext cx="2406017" cy="2246799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fr-FR" smtClean="0"/>
              <a:t>Faire glisser l'image vers l'espace réservé ou cliquer sur l'icône pour l'ajouter</a:t>
            </a:r>
            <a:endParaRPr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2877579" y="251888"/>
            <a:ext cx="2406017" cy="2246799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fr-FR" smtClean="0"/>
              <a:t>Faire glisser l'image vers l'espace réservé ou cliquer sur l'icône pour l'ajouter</a:t>
            </a:r>
            <a:endParaRPr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9550690" y="311367"/>
            <a:ext cx="802007" cy="17631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68" tIns="52133" rIns="104268" bIns="52133" rtlCol="0" anchor="ctr"/>
          <a:lstStyle/>
          <a:p>
            <a:pPr algn="ctr"/>
            <a:endParaRPr/>
          </a:p>
        </p:txBody>
      </p:sp>
      <p:sp>
        <p:nvSpPr>
          <p:cNvPr id="9" name="TextBox 8"/>
          <p:cNvSpPr txBox="1"/>
          <p:nvPr/>
        </p:nvSpPr>
        <p:spPr>
          <a:xfrm>
            <a:off x="261005" y="251884"/>
            <a:ext cx="305120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41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5pPr>
              <a:defRPr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EB6116-F787-E640-880D-876DE30AA4D5}" type="datetime1">
              <a:rPr lang="fr-FR" smtClean="0"/>
              <a:t>2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F1D00-BD13-4404-86B0-79703945A0A7}" type="slidenum">
              <a:rPr lang="en-US" smtClean="0"/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9601785" y="311367"/>
            <a:ext cx="750897" cy="17631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68" tIns="52133" rIns="104268" bIns="52133"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7A0A13-C406-A24B-AE7A-4A97521AC42A}" type="datetime1">
              <a:rPr lang="fr-FR" smtClean="0"/>
              <a:t>2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F1D00-BD13-4404-86B0-79703945A0A7}" type="slidenum">
              <a:rPr lang="en-US" smtClean="0"/>
              <a:t>‹N°›</a:t>
            </a:fld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261005" y="251884"/>
            <a:ext cx="305120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41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10" name="Rectangle 9"/>
          <p:cNvSpPr/>
          <p:nvPr/>
        </p:nvSpPr>
        <p:spPr>
          <a:xfrm>
            <a:off x="9435354" y="311367"/>
            <a:ext cx="106934" cy="176318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68" tIns="52133" rIns="104268" bIns="52133" rtlCol="0" anchor="ctr"/>
          <a:lstStyle/>
          <a:p>
            <a:pPr algn="ctr"/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9550690" y="311354"/>
            <a:ext cx="802007" cy="3329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68" tIns="52133" rIns="104268" bIns="52133" rtlCol="0" anchor="ctr"/>
          <a:lstStyle/>
          <a:p>
            <a:pPr algn="ctr"/>
            <a:endParaRPr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350611" y="1051995"/>
            <a:ext cx="796764" cy="5698141"/>
          </a:xfrm>
        </p:spPr>
        <p:txBody>
          <a:bodyPr vert="eaVert" anchor="t" anchorCtr="0"/>
          <a:lstStyle/>
          <a:p>
            <a:r>
              <a:rPr lang="fr-FR" smtClean="0"/>
              <a:t>Cliquez et modifiez le titr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4671" y="1056407"/>
            <a:ext cx="8020050" cy="5712958"/>
          </a:xfrm>
        </p:spPr>
        <p:txBody>
          <a:bodyPr vert="eaVert"/>
          <a:lstStyle>
            <a:lvl5pPr>
              <a:defRPr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A62753-0ED2-7045-8F4E-02E6C77859BE}" type="datetime1">
              <a:rPr lang="fr-FR" smtClean="0"/>
              <a:t>2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F1D00-BD13-4404-86B0-79703945A0A7}" type="slidenum">
              <a:rPr lang="en-US" smtClean="0"/>
              <a:t>‹N°›</a:t>
            </a:fld>
            <a:endParaRPr lang="en-US"/>
          </a:p>
        </p:txBody>
      </p:sp>
      <p:sp>
        <p:nvSpPr>
          <p:cNvPr id="9" name="TextBox 8"/>
          <p:cNvSpPr txBox="1"/>
          <p:nvPr/>
        </p:nvSpPr>
        <p:spPr>
          <a:xfrm rot="16200000">
            <a:off x="10058000" y="608616"/>
            <a:ext cx="287483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41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58966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0753350"/>
              </p:ext>
            </p:extLst>
          </p:nvPr>
        </p:nvGraphicFramePr>
        <p:xfrm>
          <a:off x="1873" y="1750"/>
          <a:ext cx="1855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73" y="1750"/>
                        <a:ext cx="1855" cy="1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534671" y="224380"/>
            <a:ext cx="9316730" cy="698587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lang="es-ES_tradnl"/>
            </a:lvl1pPr>
          </a:lstStyle>
          <a:p>
            <a:pPr marL="0" lvl="0" algn="l"/>
            <a:r>
              <a:rPr lang="en-US" smtClean="0"/>
              <a:t>Click to edit Master title style</a:t>
            </a:r>
            <a:endParaRPr lang="es-ES_tradnl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9803258" y="763813"/>
            <a:ext cx="452159" cy="237387"/>
          </a:xfrm>
          <a:prstGeom prst="rect">
            <a:avLst/>
          </a:prstGeom>
        </p:spPr>
        <p:txBody>
          <a:bodyPr lIns="104278" tIns="52139" rIns="104278" bIns="52139"/>
          <a:lstStyle>
            <a:defPPr>
              <a:defRPr lang="en-US"/>
            </a:defPPr>
            <a:lvl1pPr algn="r">
              <a:defRPr lang="en-GB" sz="800" b="1" smtClean="0">
                <a:solidFill>
                  <a:schemeClr val="tx2"/>
                </a:solidFill>
              </a:defRPr>
            </a:lvl1pPr>
          </a:lstStyle>
          <a:p>
            <a:fld id="{31ADF874-4FD5-4EB1-922C-91F18A02A3A3}" type="slidenum">
              <a:rPr lang="es-ES_tradnl">
                <a:solidFill>
                  <a:srgbClr val="D67B19"/>
                </a:solidFill>
              </a:rPr>
              <a:pPr/>
              <a:t>‹N°›</a:t>
            </a:fld>
            <a:endParaRPr lang="es-ES_tradnl" dirty="0">
              <a:solidFill>
                <a:srgbClr val="D67B1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80402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, alt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9550690" y="311367"/>
            <a:ext cx="802007" cy="17631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68" tIns="52133" rIns="104268" bIns="52133"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2938" y="148169"/>
            <a:ext cx="8836688" cy="1096433"/>
          </a:xfrm>
        </p:spPr>
        <p:txBody>
          <a:bodyPr anchor="b" anchorCtr="0"/>
          <a:lstStyle/>
          <a:p>
            <a:r>
              <a:rPr lang="fr-FR" smtClean="0"/>
              <a:t>Cliquez et modifiez le titr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231E35-0964-4945-A041-97764856FE05}" type="datetime1">
              <a:rPr lang="fr-FR" smtClean="0"/>
              <a:t>2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F1D00-BD13-4404-86B0-79703945A0A7}" type="slidenum">
              <a:rPr lang="en-US" smtClean="0"/>
              <a:t>‹N°›</a:t>
            </a:fld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261005" y="251884"/>
            <a:ext cx="305120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41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582990" y="1244603"/>
            <a:ext cx="8839784" cy="853605"/>
          </a:xfrm>
        </p:spPr>
        <p:txBody>
          <a:bodyPr vert="horz" lIns="104268" tIns="52133" rIns="104268" bIns="52133" rtlCol="0" anchor="t" anchorCtr="0">
            <a:noAutofit/>
          </a:bodyPr>
          <a:lstStyle>
            <a:lvl1pPr marL="0" indent="0">
              <a:buNone/>
              <a:defRPr kumimoji="0" sz="2700" b="0" i="0" u="none" strike="noStrike" kern="1200" cap="none" spc="0" normalizeH="0" baseline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  <a:lvl2pPr marL="521341" indent="0">
              <a:buNone/>
              <a:defRPr sz="1400"/>
            </a:lvl2pPr>
            <a:lvl3pPr marL="1042680" indent="0">
              <a:buNone/>
              <a:defRPr sz="1100"/>
            </a:lvl3pPr>
            <a:lvl4pPr marL="1564021" indent="0">
              <a:buNone/>
              <a:defRPr sz="1000"/>
            </a:lvl4pPr>
            <a:lvl5pPr marL="2085362" indent="0">
              <a:buNone/>
              <a:defRPr sz="1000"/>
            </a:lvl5pPr>
            <a:lvl6pPr marL="2606700" indent="0">
              <a:buNone/>
              <a:defRPr sz="1000"/>
            </a:lvl6pPr>
            <a:lvl7pPr marL="3128041" indent="0">
              <a:buNone/>
              <a:defRPr sz="1000"/>
            </a:lvl7pPr>
            <a:lvl8pPr marL="3649381" indent="0">
              <a:buNone/>
              <a:defRPr sz="1000"/>
            </a:lvl8pPr>
            <a:lvl9pPr marL="4170721" indent="0">
              <a:buNone/>
              <a:defRPr sz="1000"/>
            </a:lvl9pPr>
          </a:lstStyle>
          <a:p>
            <a:pPr marL="0" marR="0" lvl="0" indent="0" algn="l" defTabSz="10426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mtClean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 avec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614034" y="5095699"/>
            <a:ext cx="4722918" cy="1028524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fr-FR" smtClean="0"/>
              <a:t>Cliquez et modifiez le titr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14034" y="6129162"/>
            <a:ext cx="4722918" cy="824795"/>
          </a:xfrm>
        </p:spPr>
        <p:txBody>
          <a:bodyPr>
            <a:normAutofit/>
          </a:bodyPr>
          <a:lstStyle>
            <a:lvl1pPr marL="0" indent="0" algn="l">
              <a:spcBef>
                <a:spcPts val="342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5213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6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3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3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7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Cliquez pour modifier le style des sous-titres du masque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614051" y="7080105"/>
            <a:ext cx="1441511" cy="402314"/>
          </a:xfrm>
        </p:spPr>
        <p:txBody>
          <a:bodyPr/>
          <a:lstStyle>
            <a:lvl1pPr algn="l">
              <a:defRPr/>
            </a:lvl1pPr>
          </a:lstStyle>
          <a:p>
            <a:fld id="{89DD8AC5-AD74-2D4F-8B90-1723257D6C2D}" type="datetime1">
              <a:rPr lang="fr-FR" smtClean="0"/>
              <a:t>2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380544" y="7080105"/>
            <a:ext cx="3061248" cy="402314"/>
          </a:xfrm>
        </p:spPr>
        <p:txBody>
          <a:bodyPr/>
          <a:lstStyle>
            <a:lvl1pPr algn="r">
              <a:defRPr/>
            </a:lvl1pPr>
          </a:lstStyle>
          <a:p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330458" y="251894"/>
            <a:ext cx="4953122" cy="46145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68" tIns="52133" rIns="104268" bIns="52133" rtlCol="0" anchor="ctr"/>
          <a:lstStyle/>
          <a:p>
            <a:pPr algn="ctr"/>
            <a:endParaRPr/>
          </a:p>
        </p:txBody>
      </p:sp>
      <p:sp>
        <p:nvSpPr>
          <p:cNvPr id="8" name="Rectangle 7"/>
          <p:cNvSpPr/>
          <p:nvPr/>
        </p:nvSpPr>
        <p:spPr>
          <a:xfrm>
            <a:off x="7955088" y="251888"/>
            <a:ext cx="2406017" cy="224679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68" tIns="52133" rIns="104268" bIns="52133" rtlCol="0" anchor="ctr"/>
          <a:lstStyle/>
          <a:p>
            <a:pPr algn="ctr"/>
            <a:endParaRPr/>
          </a:p>
        </p:txBody>
      </p:sp>
      <p:sp>
        <p:nvSpPr>
          <p:cNvPr id="10" name="Rectangle 9"/>
          <p:cNvSpPr/>
          <p:nvPr/>
        </p:nvSpPr>
        <p:spPr>
          <a:xfrm>
            <a:off x="5407980" y="2619589"/>
            <a:ext cx="2406017" cy="22467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68" tIns="52133" rIns="104268" bIns="52133" rtlCol="0" anchor="ctr"/>
          <a:lstStyle/>
          <a:p>
            <a:pPr algn="ctr"/>
            <a:endParaRPr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2"/>
          </p:nvPr>
        </p:nvSpPr>
        <p:spPr>
          <a:xfrm>
            <a:off x="5407980" y="251888"/>
            <a:ext cx="2406017" cy="2246799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fr-FR" smtClean="0"/>
              <a:t>Faire glisser l'image vers l'espace réservé ou cliquer sur l'icône pour l'ajouter</a:t>
            </a:r>
            <a:endParaRPr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7955088" y="2619589"/>
            <a:ext cx="2406017" cy="2246799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fr-FR" smtClean="0"/>
              <a:t>Faire glisser l'image vers l'espace réservé ou cliquer sur l'icône pour l'ajouter</a:t>
            </a:r>
            <a:endParaRPr/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/>
          </p:nvPr>
        </p:nvSpPr>
        <p:spPr>
          <a:xfrm>
            <a:off x="1002509" y="1960750"/>
            <a:ext cx="3609023" cy="2248775"/>
          </a:xfrm>
        </p:spPr>
        <p:txBody>
          <a:bodyPr lIns="52133" tIns="52133" rIns="52133" anchor="t">
            <a:noAutofit/>
          </a:bodyPr>
          <a:lstStyle>
            <a:lvl1pPr marL="0" indent="0" algn="ctr">
              <a:spcBef>
                <a:spcPts val="684"/>
              </a:spcBef>
              <a:buNone/>
              <a:defRPr sz="52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 eaLnBrk="1" latinLnBrk="0" hangingPunct="1"/>
            <a:r>
              <a:rPr kumimoji="0" lang="fr-FR" smtClean="0"/>
              <a:t>Cliquez pour modifier les styles du texte du masqu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96890" y="192628"/>
            <a:ext cx="483342" cy="9541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62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770557" y="251883"/>
            <a:ext cx="9590531" cy="69915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68" tIns="52133" rIns="104268" bIns="52133"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73351" y="3442410"/>
            <a:ext cx="6594262" cy="1500805"/>
          </a:xfrm>
        </p:spPr>
        <p:txBody>
          <a:bodyPr anchor="b" anchorCtr="0">
            <a:normAutofit/>
          </a:bodyPr>
          <a:lstStyle>
            <a:lvl1pPr algn="l">
              <a:defRPr sz="3600" b="0" cap="none" baseline="0"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Cliquez et modifiez le titr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73351" y="4953706"/>
            <a:ext cx="6594262" cy="1652984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342"/>
              </a:spcBef>
              <a:buNone/>
              <a:defRPr sz="1600" cap="none" baseline="0">
                <a:solidFill>
                  <a:schemeClr val="bg1"/>
                </a:solidFill>
              </a:defRPr>
            </a:lvl1pPr>
            <a:lvl2pPr marL="521341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4268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640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85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6067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1280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4938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707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70557" y="6885225"/>
            <a:ext cx="1724574" cy="402314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1F6CE86B-58F7-EA4A-844E-BF4EE7571BC5}" type="datetime1">
              <a:rPr lang="fr-FR" smtClean="0"/>
              <a:t>2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73351" y="6885225"/>
            <a:ext cx="6594262" cy="40231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713175" y="6885225"/>
            <a:ext cx="647916" cy="402314"/>
          </a:xfrm>
        </p:spPr>
        <p:txBody>
          <a:bodyPr/>
          <a:lstStyle/>
          <a:p>
            <a:fld id="{162F1D00-BD13-4404-86B0-79703945A0A7}" type="slidenum">
              <a:rPr lang="en-US" smtClean="0"/>
              <a:t>‹N°›</a:t>
            </a:fld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2343115" y="3427592"/>
            <a:ext cx="305120" cy="7078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46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9" name="Rectangle 8"/>
          <p:cNvSpPr/>
          <p:nvPr/>
        </p:nvSpPr>
        <p:spPr>
          <a:xfrm>
            <a:off x="334183" y="251883"/>
            <a:ext cx="248771" cy="699151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68" tIns="52133" rIns="104268" bIns="52133" rtlCol="0" anchor="ctr"/>
          <a:lstStyle/>
          <a:p>
            <a:pPr algn="ctr"/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9601785" y="311367"/>
            <a:ext cx="750897" cy="17631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68" tIns="52133" rIns="104268" bIns="52133" rtlCol="0" anchor="ctr"/>
          <a:lstStyle/>
          <a:p>
            <a:pPr algn="ctr"/>
            <a:endParaRPr/>
          </a:p>
        </p:txBody>
      </p:sp>
      <p:sp>
        <p:nvSpPr>
          <p:cNvPr id="12" name="Rectangle 11"/>
          <p:cNvSpPr/>
          <p:nvPr/>
        </p:nvSpPr>
        <p:spPr>
          <a:xfrm>
            <a:off x="9435354" y="311367"/>
            <a:ext cx="106934" cy="176318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68" tIns="52133" rIns="104268" bIns="52133" rtlCol="0" anchor="ctr"/>
          <a:lstStyle/>
          <a:p>
            <a:pPr algn="ctr"/>
            <a:endParaRPr/>
          </a:p>
        </p:txBody>
      </p:sp>
      <p:sp>
        <p:nvSpPr>
          <p:cNvPr id="10" name="TextBox 9"/>
          <p:cNvSpPr txBox="1"/>
          <p:nvPr/>
        </p:nvSpPr>
        <p:spPr>
          <a:xfrm>
            <a:off x="261005" y="251884"/>
            <a:ext cx="305120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41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2991" y="2188238"/>
            <a:ext cx="4277360" cy="4561887"/>
          </a:xfrm>
        </p:spPr>
        <p:txBody>
          <a:bodyPr>
            <a:normAutofit/>
          </a:bodyPr>
          <a:lstStyle>
            <a:lvl1pPr>
              <a:defRPr sz="2100"/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45414" y="2188238"/>
            <a:ext cx="4277360" cy="4561887"/>
          </a:xfrm>
        </p:spPr>
        <p:txBody>
          <a:bodyPr>
            <a:normAutofit/>
          </a:bodyPr>
          <a:lstStyle>
            <a:lvl1pPr>
              <a:defRPr sz="2100"/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9F49A3-412D-664D-AEF2-CA2E38652B20}" type="datetime1">
              <a:rPr lang="fr-FR" smtClean="0"/>
              <a:t>27/10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F1D00-BD13-4404-86B0-79703945A0A7}" type="slidenum">
              <a:rPr lang="en-US" smtClean="0"/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9550690" y="311367"/>
            <a:ext cx="802007" cy="17631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68" tIns="52133" rIns="104268" bIns="52133" rtlCol="0" anchor="ctr"/>
          <a:lstStyle/>
          <a:p>
            <a:pPr algn="ctr"/>
            <a:endParaRPr/>
          </a:p>
        </p:txBody>
      </p:sp>
      <p:sp>
        <p:nvSpPr>
          <p:cNvPr id="12" name="TextBox 11"/>
          <p:cNvSpPr txBox="1"/>
          <p:nvPr/>
        </p:nvSpPr>
        <p:spPr>
          <a:xfrm>
            <a:off x="261005" y="251884"/>
            <a:ext cx="305120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41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Cliquez et modifiez le titre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1848" y="2696636"/>
            <a:ext cx="4277360" cy="4053489"/>
          </a:xfrm>
        </p:spPr>
        <p:txBody>
          <a:bodyPr>
            <a:normAutofit/>
          </a:bodyPr>
          <a:lstStyle>
            <a:lvl1pPr>
              <a:defRPr sz="2100"/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45414" y="2696636"/>
            <a:ext cx="4277360" cy="4053489"/>
          </a:xfrm>
        </p:spPr>
        <p:txBody>
          <a:bodyPr>
            <a:normAutofit/>
          </a:bodyPr>
          <a:lstStyle>
            <a:lvl1pPr>
              <a:defRPr sz="2100"/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A0366D-03CC-9E4D-8F6E-5E1A616138D1}" type="datetime1">
              <a:rPr lang="fr-FR" smtClean="0"/>
              <a:t>27/10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F1D00-BD13-4404-86B0-79703945A0A7}" type="slidenum">
              <a:rPr lang="en-US" smtClean="0"/>
              <a:t>‹N°›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1848" y="2281768"/>
            <a:ext cx="4277360" cy="355600"/>
          </a:xfrm>
          <a:prstGeom prst="rect">
            <a:avLst/>
          </a:prstGeom>
          <a:solidFill>
            <a:schemeClr val="accent3"/>
          </a:solidFill>
        </p:spPr>
        <p:txBody>
          <a:bodyPr tIns="0" bIns="0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2100" b="0">
                <a:solidFill>
                  <a:schemeClr val="bg1"/>
                </a:solidFill>
              </a:defRPr>
            </a:lvl1pPr>
            <a:lvl2pPr marL="521341" indent="0">
              <a:buNone/>
              <a:defRPr sz="2300" b="1"/>
            </a:lvl2pPr>
            <a:lvl3pPr marL="1042680" indent="0">
              <a:buNone/>
              <a:defRPr sz="2100" b="1"/>
            </a:lvl3pPr>
            <a:lvl4pPr marL="1564021" indent="0">
              <a:buNone/>
              <a:defRPr sz="1800" b="1"/>
            </a:lvl4pPr>
            <a:lvl5pPr marL="2085362" indent="0">
              <a:buNone/>
              <a:defRPr sz="1800" b="1"/>
            </a:lvl5pPr>
            <a:lvl6pPr marL="2606700" indent="0">
              <a:buNone/>
              <a:defRPr sz="1800" b="1"/>
            </a:lvl6pPr>
            <a:lvl7pPr marL="3128041" indent="0">
              <a:buNone/>
              <a:defRPr sz="1800" b="1"/>
            </a:lvl7pPr>
            <a:lvl8pPr marL="3649381" indent="0">
              <a:buNone/>
              <a:defRPr sz="1800" b="1"/>
            </a:lvl8pPr>
            <a:lvl9pPr marL="4170721" indent="0">
              <a:buNone/>
              <a:defRPr sz="18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45414" y="2281768"/>
            <a:ext cx="4277360" cy="3556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txBody>
          <a:bodyPr tIns="0" bIns="0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2100" b="0">
                <a:solidFill>
                  <a:schemeClr val="bg1"/>
                </a:solidFill>
              </a:defRPr>
            </a:lvl1pPr>
            <a:lvl2pPr marL="521341" indent="0">
              <a:buNone/>
              <a:defRPr sz="2300" b="1"/>
            </a:lvl2pPr>
            <a:lvl3pPr marL="1042680" indent="0">
              <a:buNone/>
              <a:defRPr sz="2100" b="1"/>
            </a:lvl3pPr>
            <a:lvl4pPr marL="1564021" indent="0">
              <a:buNone/>
              <a:defRPr sz="1800" b="1"/>
            </a:lvl4pPr>
            <a:lvl5pPr marL="2085362" indent="0">
              <a:buNone/>
              <a:defRPr sz="1800" b="1"/>
            </a:lvl5pPr>
            <a:lvl6pPr marL="2606700" indent="0">
              <a:buNone/>
              <a:defRPr sz="1800" b="1"/>
            </a:lvl6pPr>
            <a:lvl7pPr marL="3128041" indent="0">
              <a:buNone/>
              <a:defRPr sz="1800" b="1"/>
            </a:lvl7pPr>
            <a:lvl8pPr marL="3649381" indent="0">
              <a:buNone/>
              <a:defRPr sz="1800" b="1"/>
            </a:lvl8pPr>
            <a:lvl9pPr marL="4170721" indent="0">
              <a:buNone/>
              <a:defRPr sz="18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us, Haut et b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261005" y="251884"/>
            <a:ext cx="305120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41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2989" y="2188248"/>
            <a:ext cx="8851710" cy="2166197"/>
          </a:xfrm>
        </p:spPr>
        <p:txBody>
          <a:bodyPr>
            <a:normAutofit/>
          </a:bodyPr>
          <a:lstStyle>
            <a:lvl1pPr>
              <a:defRPr sz="2100"/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4892DA-2BB6-B340-8FEE-3F2370144C3F}" type="datetime1">
              <a:rPr lang="fr-FR" smtClean="0"/>
              <a:t>27/10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Content Placeholder 2"/>
          <p:cNvSpPr>
            <a:spLocks noGrp="1"/>
          </p:cNvSpPr>
          <p:nvPr>
            <p:ph sz="half" idx="14"/>
          </p:nvPr>
        </p:nvSpPr>
        <p:spPr>
          <a:xfrm>
            <a:off x="582989" y="4589184"/>
            <a:ext cx="8851710" cy="2166197"/>
          </a:xfrm>
        </p:spPr>
        <p:txBody>
          <a:bodyPr>
            <a:normAutofit/>
          </a:bodyPr>
          <a:lstStyle>
            <a:lvl1pPr>
              <a:defRPr sz="2100"/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dirty="0"/>
          </a:p>
        </p:txBody>
      </p:sp>
      <p:sp>
        <p:nvSpPr>
          <p:cNvPr id="14" name="Rectangle 13"/>
          <p:cNvSpPr/>
          <p:nvPr/>
        </p:nvSpPr>
        <p:spPr>
          <a:xfrm>
            <a:off x="9550690" y="311367"/>
            <a:ext cx="802007" cy="17631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68" tIns="52133" rIns="104268" bIns="52133" rtlCol="0" anchor="ctr"/>
          <a:lstStyle/>
          <a:p>
            <a:pPr algn="ctr"/>
            <a:endParaRPr/>
          </a:p>
        </p:txBody>
      </p:sp>
      <p:sp>
        <p:nvSpPr>
          <p:cNvPr id="15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713175" y="266907"/>
            <a:ext cx="647916" cy="402314"/>
          </a:xfrm>
        </p:spPr>
        <p:txBody>
          <a:bodyPr/>
          <a:lstStyle/>
          <a:p>
            <a:fld id="{162F1D00-BD13-4404-86B0-79703945A0A7}" type="slidenum">
              <a:rPr lang="en-US" smtClean="0"/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9550690" y="311367"/>
            <a:ext cx="802007" cy="17631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68" tIns="52133" rIns="104268" bIns="52133" rtlCol="0" anchor="ctr"/>
          <a:lstStyle/>
          <a:p>
            <a:pPr algn="ctr"/>
            <a:endParaRPr/>
          </a:p>
        </p:txBody>
      </p:sp>
      <p:sp>
        <p:nvSpPr>
          <p:cNvPr id="10" name="TextBox 9"/>
          <p:cNvSpPr txBox="1"/>
          <p:nvPr/>
        </p:nvSpPr>
        <p:spPr>
          <a:xfrm>
            <a:off x="261005" y="251884"/>
            <a:ext cx="305120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41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57340" y="2188248"/>
            <a:ext cx="4277360" cy="2166197"/>
          </a:xfrm>
        </p:spPr>
        <p:txBody>
          <a:bodyPr>
            <a:normAutofit/>
          </a:bodyPr>
          <a:lstStyle>
            <a:lvl1pPr>
              <a:defRPr sz="2100"/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4F3841-124E-E049-9452-BA6227A507F6}" type="datetime1">
              <a:rPr lang="fr-FR" smtClean="0"/>
              <a:t>27/10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F1D00-BD13-4404-86B0-79703945A0A7}" type="slidenum">
              <a:rPr lang="en-US" smtClean="0"/>
              <a:t>‹N°›</a:t>
            </a:fld>
            <a:endParaRPr lang="en-US"/>
          </a:p>
        </p:txBody>
      </p:sp>
      <p:sp>
        <p:nvSpPr>
          <p:cNvPr id="11" name="Content Placeholder 2"/>
          <p:cNvSpPr>
            <a:spLocks noGrp="1"/>
          </p:cNvSpPr>
          <p:nvPr>
            <p:ph sz="half" idx="15"/>
          </p:nvPr>
        </p:nvSpPr>
        <p:spPr>
          <a:xfrm>
            <a:off x="582991" y="2188238"/>
            <a:ext cx="4277360" cy="4561887"/>
          </a:xfrm>
        </p:spPr>
        <p:txBody>
          <a:bodyPr>
            <a:normAutofit/>
          </a:bodyPr>
          <a:lstStyle>
            <a:lvl1pPr>
              <a:defRPr sz="2100"/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6"/>
          </p:nvPr>
        </p:nvSpPr>
        <p:spPr>
          <a:xfrm>
            <a:off x="5157340" y="4594363"/>
            <a:ext cx="4277360" cy="2166197"/>
          </a:xfrm>
        </p:spPr>
        <p:txBody>
          <a:bodyPr>
            <a:normAutofit/>
          </a:bodyPr>
          <a:lstStyle>
            <a:lvl1pPr>
              <a:defRPr sz="2100"/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2938" y="533411"/>
            <a:ext cx="8836688" cy="1229783"/>
          </a:xfrm>
          <a:prstGeom prst="rect">
            <a:avLst/>
          </a:prstGeom>
        </p:spPr>
        <p:txBody>
          <a:bodyPr vert="horz" lIns="104268" tIns="52133" rIns="104268" bIns="52133" rtlCol="0" anchor="t" anchorCtr="0">
            <a:noAutofit/>
          </a:bodyPr>
          <a:lstStyle/>
          <a:p>
            <a:r>
              <a:rPr lang="fr-FR" smtClean="0"/>
              <a:t>Cliquez et modifiez le titr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2938" y="2182994"/>
            <a:ext cx="8836688" cy="4567135"/>
          </a:xfrm>
          <a:prstGeom prst="rect">
            <a:avLst/>
          </a:prstGeom>
        </p:spPr>
        <p:txBody>
          <a:bodyPr vert="horz" lIns="104268" tIns="52133" rIns="104268" bIns="52133" rtlCol="0">
            <a:normAutofit/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946666" y="7077839"/>
            <a:ext cx="2495128" cy="402314"/>
          </a:xfrm>
          <a:prstGeom prst="rect">
            <a:avLst/>
          </a:prstGeom>
        </p:spPr>
        <p:txBody>
          <a:bodyPr vert="horz" lIns="104268" tIns="52133" rIns="104268" bIns="52133" rtlCol="0" anchor="ctr"/>
          <a:lstStyle>
            <a:lvl1pPr algn="r">
              <a:defRPr sz="13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F4C28EE6-21D1-9C49-A17F-DB3E354C1583}" type="datetime1">
              <a:rPr lang="fr-FR" smtClean="0"/>
              <a:t>27/10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5885" y="7077839"/>
            <a:ext cx="7160384" cy="402314"/>
          </a:xfrm>
          <a:prstGeom prst="rect">
            <a:avLst/>
          </a:prstGeom>
        </p:spPr>
        <p:txBody>
          <a:bodyPr vert="horz" lIns="104268" tIns="52133" rIns="104268" bIns="52133" rtlCol="0" anchor="ctr"/>
          <a:lstStyle>
            <a:lvl1pPr algn="l">
              <a:defRPr sz="13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713175" y="266907"/>
            <a:ext cx="647916" cy="402314"/>
          </a:xfrm>
          <a:prstGeom prst="rect">
            <a:avLst/>
          </a:prstGeom>
        </p:spPr>
        <p:txBody>
          <a:bodyPr vert="horz" lIns="104268" tIns="52133" rIns="104268" bIns="52133" rtlCol="0" anchor="ctr"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fld id="{162F1D00-BD13-4404-86B0-79703945A0A7}" type="slidenum">
              <a:rPr lang="en-US" smtClean="0"/>
              <a:t>‹N°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  <p:sldLayoutId id="2147483776" r:id="rId3"/>
    <p:sldLayoutId id="2147483777" r:id="rId4"/>
    <p:sldLayoutId id="2147483778" r:id="rId5"/>
    <p:sldLayoutId id="2147483779" r:id="rId6"/>
    <p:sldLayoutId id="2147483780" r:id="rId7"/>
    <p:sldLayoutId id="2147483781" r:id="rId8"/>
    <p:sldLayoutId id="2147483782" r:id="rId9"/>
    <p:sldLayoutId id="2147483783" r:id="rId10"/>
    <p:sldLayoutId id="2147483784" r:id="rId11"/>
    <p:sldLayoutId id="2147483785" r:id="rId12"/>
    <p:sldLayoutId id="2147483786" r:id="rId13"/>
    <p:sldLayoutId id="2147483787" r:id="rId14"/>
    <p:sldLayoutId id="2147483788" r:id="rId15"/>
    <p:sldLayoutId id="2147483789" r:id="rId16"/>
    <p:sldLayoutId id="2147483790" r:id="rId17"/>
    <p:sldLayoutId id="2147483791" r:id="rId18"/>
    <p:sldLayoutId id="2147483792" r:id="rId19"/>
    <p:sldLayoutId id="2147483793" r:id="rId20"/>
    <p:sldLayoutId id="2147483796" r:id="rId21"/>
    <p:sldLayoutId id="2147483797" r:id="rId22"/>
  </p:sldLayoutIdLst>
  <p:hf hdr="0" ftr="0" dt="0"/>
  <p:txStyles>
    <p:titleStyle>
      <a:lvl1pPr algn="l" defTabSz="1042680" rtl="0" eaLnBrk="1" latinLnBrk="0" hangingPunct="1">
        <a:spcBef>
          <a:spcPct val="0"/>
        </a:spcBef>
        <a:buNone/>
        <a:defRPr sz="4100" b="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60669" indent="-260669" algn="l" defTabSz="1042680" rtl="0" eaLnBrk="1" latinLnBrk="0" hangingPunct="1">
        <a:spcBef>
          <a:spcPts val="2281"/>
        </a:spcBef>
        <a:buClr>
          <a:schemeClr val="accent1"/>
        </a:buClr>
        <a:buSzPct val="75000"/>
        <a:buFont typeface="Wingdings" pitchFamily="2" charset="2"/>
        <a:buChar char="n"/>
        <a:defRPr sz="23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521341" indent="-260669" algn="l" defTabSz="1042680" rtl="0" eaLnBrk="1" latinLnBrk="0" hangingPunct="1">
        <a:spcBef>
          <a:spcPts val="684"/>
        </a:spcBef>
        <a:buClr>
          <a:schemeClr val="accent1">
            <a:lumMod val="60000"/>
            <a:lumOff val="40000"/>
          </a:schemeClr>
        </a:buClr>
        <a:buSzPct val="75000"/>
        <a:buFont typeface="Wingdings" pitchFamily="2" charset="2"/>
        <a:buChar char="n"/>
        <a:defRPr sz="21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782010" indent="-260669" algn="l" defTabSz="1042680" rtl="0" eaLnBrk="1" latinLnBrk="0" hangingPunct="1">
        <a:spcBef>
          <a:spcPts val="684"/>
        </a:spcBef>
        <a:buClr>
          <a:schemeClr val="accent1"/>
        </a:buClr>
        <a:buSzPct val="75000"/>
        <a:buFont typeface="Wingdings" pitchFamily="2" charset="2"/>
        <a:buChar char="n"/>
        <a:defRPr sz="21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042680" indent="-260669" algn="l" defTabSz="1042680" rtl="0" eaLnBrk="1" latinLnBrk="0" hangingPunct="1">
        <a:spcBef>
          <a:spcPts val="684"/>
        </a:spcBef>
        <a:buClr>
          <a:schemeClr val="accent1">
            <a:lumMod val="60000"/>
            <a:lumOff val="40000"/>
          </a:schemeClr>
        </a:buClr>
        <a:buSzPct val="75000"/>
        <a:buFont typeface="Wingdings" pitchFamily="2" charset="2"/>
        <a:buChar char="n"/>
        <a:defRPr sz="21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1303351" indent="-260669" algn="l" defTabSz="1042680" rtl="0" eaLnBrk="1" latinLnBrk="0" hangingPunct="1">
        <a:spcBef>
          <a:spcPts val="684"/>
        </a:spcBef>
        <a:buClr>
          <a:schemeClr val="accent1"/>
        </a:buClr>
        <a:buSzPct val="75000"/>
        <a:buFont typeface="Wingdings" pitchFamily="2" charset="2"/>
        <a:buChar char="n"/>
        <a:defRPr sz="21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1571261" indent="-260669" algn="l" defTabSz="1042680" rtl="0" eaLnBrk="1" latinLnBrk="0" hangingPunct="1">
        <a:spcBef>
          <a:spcPct val="20000"/>
        </a:spcBef>
        <a:buClr>
          <a:schemeClr val="accent1">
            <a:lumMod val="60000"/>
            <a:lumOff val="40000"/>
          </a:schemeClr>
        </a:buClr>
        <a:buSzPct val="75000"/>
        <a:buFont typeface="Wingdings" pitchFamily="2" charset="2"/>
        <a:buChar char=""/>
        <a:defRPr lang="en-US" sz="2100" kern="120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1828311" indent="-260669" algn="l" defTabSz="1042680" rtl="0" eaLnBrk="1" latinLnBrk="0" hangingPunct="1">
        <a:spcBef>
          <a:spcPct val="20000"/>
        </a:spcBef>
        <a:buClr>
          <a:schemeClr val="accent1"/>
        </a:buClr>
        <a:buSzPct val="75000"/>
        <a:buFont typeface="Wingdings" pitchFamily="2" charset="2"/>
        <a:buChar char=""/>
        <a:defRPr lang="en-US" sz="2100" kern="1200" baseline="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2087171" indent="-260669" algn="l" defTabSz="1042680" rtl="0" eaLnBrk="1" latinLnBrk="0" hangingPunct="1">
        <a:spcBef>
          <a:spcPct val="20000"/>
        </a:spcBef>
        <a:buClr>
          <a:schemeClr val="accent1">
            <a:lumMod val="60000"/>
            <a:lumOff val="40000"/>
          </a:schemeClr>
        </a:buClr>
        <a:buSzPct val="75000"/>
        <a:buFont typeface="Wingdings" pitchFamily="2" charset="2"/>
        <a:buChar char=""/>
        <a:defRPr lang="en-US" sz="2100" kern="1200" baseline="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2346031" indent="-260669" algn="l" defTabSz="1042680" rtl="0" eaLnBrk="1" latinLnBrk="0" hangingPunct="1">
        <a:spcBef>
          <a:spcPct val="20000"/>
        </a:spcBef>
        <a:buClr>
          <a:schemeClr val="accent1"/>
        </a:buClr>
        <a:buSzPct val="75000"/>
        <a:buFont typeface="Wingdings" pitchFamily="2" charset="2"/>
        <a:buChar char=""/>
        <a:defRPr lang="en-US" sz="2100" kern="1200" baseline="0" dirty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104268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341" algn="l" defTabSz="104268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680" algn="l" defTabSz="104268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021" algn="l" defTabSz="104268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362" algn="l" defTabSz="104268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6700" algn="l" defTabSz="104268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041" algn="l" defTabSz="104268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9381" algn="l" defTabSz="104268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0721" algn="l" defTabSz="104268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2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Relationship Id="rId9" Type="http://schemas.openxmlformats.org/officeDocument/2006/relationships/image" Target="../media/image3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5700" y="4692650"/>
            <a:ext cx="2133600" cy="2133600"/>
          </a:xfrm>
          <a:prstGeom prst="rect">
            <a:avLst/>
          </a:prstGeom>
        </p:spPr>
      </p:pic>
      <p:sp>
        <p:nvSpPr>
          <p:cNvPr id="18" name="Titre 1"/>
          <p:cNvSpPr>
            <a:spLocks noGrp="1"/>
          </p:cNvSpPr>
          <p:nvPr>
            <p:ph type="title"/>
          </p:nvPr>
        </p:nvSpPr>
        <p:spPr>
          <a:xfrm>
            <a:off x="393700" y="1949450"/>
            <a:ext cx="3806850" cy="2118607"/>
          </a:xfrm>
        </p:spPr>
        <p:txBody>
          <a:bodyPr>
            <a:normAutofit fontScale="90000"/>
          </a:bodyPr>
          <a:lstStyle/>
          <a:p>
            <a:r>
              <a:rPr lang="fr-FR" sz="3600" dirty="0" smtClean="0">
                <a:latin typeface="Arial"/>
                <a:cs typeface="Arial"/>
              </a:rPr>
              <a:t/>
            </a:r>
            <a:br>
              <a:rPr lang="fr-FR" sz="3600" dirty="0" smtClean="0">
                <a:latin typeface="Arial"/>
                <a:cs typeface="Arial"/>
              </a:rPr>
            </a:br>
            <a:r>
              <a:rPr lang="fr-FR" sz="3600" dirty="0" smtClean="0">
                <a:latin typeface="Arial"/>
                <a:cs typeface="Arial"/>
              </a:rPr>
              <a:t>L’attention à l’ère du digital</a:t>
            </a:r>
            <a:br>
              <a:rPr lang="fr-FR" sz="3600" dirty="0" smtClean="0">
                <a:latin typeface="Arial"/>
                <a:cs typeface="Arial"/>
              </a:rPr>
            </a:br>
            <a:r>
              <a:rPr lang="fr-FR" sz="3600" dirty="0" smtClean="0">
                <a:latin typeface="Arial"/>
                <a:cs typeface="Arial"/>
              </a:rPr>
              <a:t/>
            </a:r>
            <a:br>
              <a:rPr lang="fr-FR" sz="3600" dirty="0" smtClean="0">
                <a:latin typeface="Arial"/>
                <a:cs typeface="Arial"/>
              </a:rPr>
            </a:br>
            <a:r>
              <a:rPr lang="fr-FR" sz="3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badi MT Condensed Light"/>
                <a:cs typeface="Abadi MT Condensed Light"/>
              </a:rPr>
              <a:t>Un nouveau défi</a:t>
            </a:r>
            <a:endParaRPr lang="fr-FR" sz="3600" dirty="0">
              <a:latin typeface="Abadi MT Condensed Light"/>
              <a:cs typeface="Abadi MT Condensed Light"/>
            </a:endParaRPr>
          </a:p>
        </p:txBody>
      </p:sp>
      <p:graphicFrame>
        <p:nvGraphicFramePr>
          <p:cNvPr id="7" name="Espace réservé du contenu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74981459"/>
              </p:ext>
            </p:extLst>
          </p:nvPr>
        </p:nvGraphicFramePr>
        <p:xfrm>
          <a:off x="4875167" y="300874"/>
          <a:ext cx="5376403" cy="64492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5" name="Image 4" descr="FAF2010.jp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2900" y="7143866"/>
            <a:ext cx="1447800" cy="412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7715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vantage">
  <a:themeElements>
    <a:clrScheme name="Personnalisée 6">
      <a:dk1>
        <a:sysClr val="windowText" lastClr="000000"/>
      </a:dk1>
      <a:lt1>
        <a:sysClr val="window" lastClr="FFFFFF"/>
      </a:lt1>
      <a:dk2>
        <a:srgbClr val="2B142D"/>
      </a:dk2>
      <a:lt2>
        <a:srgbClr val="C3AFCC"/>
      </a:lt2>
      <a:accent1>
        <a:srgbClr val="663366"/>
      </a:accent1>
      <a:accent2>
        <a:srgbClr val="330F42"/>
      </a:accent2>
      <a:accent3>
        <a:srgbClr val="666699"/>
      </a:accent3>
      <a:accent4>
        <a:srgbClr val="999966"/>
      </a:accent4>
      <a:accent5>
        <a:srgbClr val="F7901E"/>
      </a:accent5>
      <a:accent6>
        <a:srgbClr val="569F10"/>
      </a:accent6>
      <a:hlink>
        <a:srgbClr val="BC5FBC"/>
      </a:hlink>
      <a:folHlink>
        <a:srgbClr val="9775A7"/>
      </a:folHlink>
    </a:clrScheme>
    <a:fontScheme name="Avantage">
      <a:majorFont>
        <a:latin typeface="Rockwell"/>
        <a:ea typeface=""/>
        <a:cs typeface=""/>
        <a:font script="Jpan" typeface="ＭＳ ゴシック"/>
        <a:font script="Hans" typeface="宋体"/>
        <a:font script="Hant" typeface="新細明體"/>
      </a:majorFont>
      <a:minorFont>
        <a:latin typeface="Rockwell"/>
        <a:ea typeface=""/>
        <a:cs typeface=""/>
        <a:font script="Jpan" typeface="ＭＳ ゴシック"/>
        <a:font script="Hans" typeface="宋体"/>
        <a:font script="Hant" typeface="新細明體"/>
      </a:minorFont>
    </a:fontScheme>
    <a:fmtScheme name="Avantage">
      <a:fillStyleLst>
        <a:solidFill>
          <a:schemeClr val="phClr"/>
        </a:solidFill>
        <a:gradFill rotWithShape="1">
          <a:gsLst>
            <a:gs pos="0">
              <a:schemeClr val="phClr">
                <a:tint val="100000"/>
                <a:shade val="40000"/>
                <a:alpha val="100000"/>
                <a:satMod val="150000"/>
                <a:lumMod val="100000"/>
              </a:schemeClr>
            </a:gs>
            <a:gs pos="100000">
              <a:schemeClr val="phClr">
                <a:tint val="70000"/>
                <a:shade val="100000"/>
                <a:alpha val="100000"/>
                <a:satMod val="200000"/>
                <a:lumMod val="100000"/>
              </a:schemeClr>
            </a:gs>
          </a:gsLst>
          <a:lin ang="6000000" scaled="1"/>
        </a:gradFill>
        <a:gradFill rotWithShape="1">
          <a:gsLst>
            <a:gs pos="0">
              <a:schemeClr val="phClr">
                <a:shade val="40000"/>
                <a:alpha val="100000"/>
                <a:satMod val="150000"/>
                <a:lumMod val="100000"/>
              </a:schemeClr>
            </a:gs>
            <a:gs pos="100000">
              <a:schemeClr val="phClr">
                <a:tint val="70000"/>
                <a:shade val="100000"/>
                <a:alpha val="100000"/>
                <a:satMod val="200000"/>
                <a:lumMod val="100000"/>
              </a:schemeClr>
            </a:gs>
          </a:gsLst>
          <a:lin ang="5400000" scaled="1"/>
        </a:gra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50800" dist="25400" dir="13500000">
              <a:srgbClr val="FFFFFF">
                <a:alpha val="75000"/>
              </a:srgbClr>
            </a:innerShdw>
            <a:outerShdw blurRad="63500" dist="25400" dir="5400000" rotWithShape="0">
              <a:srgbClr val="808080">
                <a:alpha val="75000"/>
              </a:srgbClr>
            </a:outerShdw>
          </a:effectLst>
        </a:effectStyle>
        <a:effectStyle>
          <a:effectLst/>
          <a:scene3d>
            <a:camera prst="orthographicFront">
              <a:rot lat="0" lon="0" rev="0"/>
            </a:camera>
            <a:lightRig rig="twoPt" dir="tl">
              <a:rot lat="0" lon="0" rev="4500000"/>
            </a:lightRig>
          </a:scene3d>
          <a:sp3d>
            <a:bevelT w="635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1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3883</TotalTime>
  <Words>11</Words>
  <Application>Microsoft Office PowerPoint</Application>
  <PresentationFormat>Personnalisé</PresentationFormat>
  <Paragraphs>8</Paragraphs>
  <Slides>1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8" baseType="lpstr">
      <vt:lpstr>Abadi MT Condensed Light</vt:lpstr>
      <vt:lpstr>Arial</vt:lpstr>
      <vt:lpstr>Calibri</vt:lpstr>
      <vt:lpstr>Rockwell</vt:lpstr>
      <vt:lpstr>Wingdings</vt:lpstr>
      <vt:lpstr>Avantage</vt:lpstr>
      <vt:lpstr>think-cell Slide</vt:lpstr>
      <vt:lpstr> L’attention à l’ère du digital  Un nouveau défi</vt:lpstr>
    </vt:vector>
  </TitlesOfParts>
  <Manager/>
  <Company/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subject/>
  <dc:creator/>
  <cp:keywords/>
  <dc:description/>
  <cp:lastModifiedBy>Assistante</cp:lastModifiedBy>
  <cp:revision>893</cp:revision>
  <cp:lastPrinted>2017-03-20T10:03:40Z</cp:lastPrinted>
  <dcterms:modified xsi:type="dcterms:W3CDTF">2017-10-27T14:16:49Z</dcterms:modified>
  <cp:category/>
</cp:coreProperties>
</file>